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22"/>
  </p:notesMasterIdLst>
  <p:handoutMasterIdLst>
    <p:handoutMasterId r:id="rId23"/>
  </p:handoutMasterIdLst>
  <p:sldIdLst>
    <p:sldId id="359" r:id="rId2"/>
    <p:sldId id="1644" r:id="rId3"/>
    <p:sldId id="1640" r:id="rId4"/>
    <p:sldId id="1674" r:id="rId5"/>
    <p:sldId id="1675" r:id="rId6"/>
    <p:sldId id="1676" r:id="rId7"/>
    <p:sldId id="1646" r:id="rId8"/>
    <p:sldId id="1663" r:id="rId9"/>
    <p:sldId id="1677" r:id="rId10"/>
    <p:sldId id="1680" r:id="rId11"/>
    <p:sldId id="1681" r:id="rId12"/>
    <p:sldId id="1682" r:id="rId13"/>
    <p:sldId id="1683" r:id="rId14"/>
    <p:sldId id="1684" r:id="rId15"/>
    <p:sldId id="1685" r:id="rId16"/>
    <p:sldId id="1642" r:id="rId17"/>
    <p:sldId id="1668" r:id="rId18"/>
    <p:sldId id="1687" r:id="rId19"/>
    <p:sldId id="1688" r:id="rId20"/>
    <p:sldId id="275" r:id="rId21"/>
  </p:sldIdLst>
  <p:sldSz cx="12192000" cy="6858000"/>
  <p:notesSz cx="6858000" cy="9144000"/>
  <p:embeddedFontLst>
    <p:embeddedFont>
      <p:font typeface="PT Sans" panose="020B0503020203020204" pitchFamily="34" charset="0"/>
      <p:regular r:id="rId24"/>
      <p:bold r:id="rId25"/>
      <p:italic r:id="rId26"/>
      <p:boldItalic r:id="rId27"/>
    </p:embeddedFont>
    <p:embeddedFont>
      <p:font typeface="Wingdings 2" panose="05020102010507070707" pitchFamily="18" charset="2"/>
      <p:regular r:id="rId28"/>
    </p:embeddedFont>
    <p:embeddedFont>
      <p:font typeface="Yu Gothic Light" panose="020B0300000000000000" pitchFamily="34" charset="-128"/>
      <p:regular r:id="rId29"/>
    </p:embeddedFont>
  </p:embeddedFontLst>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Layouts" id="{E0AC8B35-0F8B-41E5-82FA-68AC7D4C0D6E}">
          <p14:sldIdLst>
            <p14:sldId id="359"/>
            <p14:sldId id="1644"/>
            <p14:sldId id="1640"/>
            <p14:sldId id="1674"/>
            <p14:sldId id="1675"/>
            <p14:sldId id="1676"/>
            <p14:sldId id="1646"/>
            <p14:sldId id="1663"/>
            <p14:sldId id="1677"/>
            <p14:sldId id="1680"/>
            <p14:sldId id="1681"/>
            <p14:sldId id="1682"/>
            <p14:sldId id="1683"/>
            <p14:sldId id="1684"/>
            <p14:sldId id="1685"/>
            <p14:sldId id="1642"/>
            <p14:sldId id="1668"/>
            <p14:sldId id="1687"/>
            <p14:sldId id="1688"/>
            <p14:sldId id="275"/>
          </p14:sldIdLst>
        </p14:section>
        <p14:section name="Folienbibliothek" id="{6794B3C1-7E0C-4E7A-BF51-910F8800D10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D53D00-8BC9-46CA-9289-F3445BA57022}" v="14" dt="2024-08-13T15:08:03.774"/>
  </p1510:revLst>
</p1510:revInfo>
</file>

<file path=ppt/tableStyles.xml><?xml version="1.0" encoding="utf-8"?>
<a:tblStyleLst xmlns:a="http://schemas.openxmlformats.org/drawingml/2006/main" def="{5C22544A-7EE6-4342-B048-85BDC9FD1C3A}">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08" autoAdjust="0"/>
  </p:normalViewPr>
  <p:slideViewPr>
    <p:cSldViewPr snapToGrid="0" showGuides="1">
      <p:cViewPr varScale="1">
        <p:scale>
          <a:sx n="82" d="100"/>
          <a:sy n="82" d="100"/>
        </p:scale>
        <p:origin x="672" y="72"/>
      </p:cViewPr>
      <p:guideLst/>
    </p:cSldViewPr>
  </p:slideViewPr>
  <p:outlineViewPr>
    <p:cViewPr>
      <p:scale>
        <a:sx n="33" d="100"/>
        <a:sy n="33" d="100"/>
      </p:scale>
      <p:origin x="0" y="-36672"/>
    </p:cViewPr>
  </p:outlineViewPr>
  <p:notesTextViewPr>
    <p:cViewPr>
      <p:scale>
        <a:sx n="3" d="2"/>
        <a:sy n="3" d="2"/>
      </p:scale>
      <p:origin x="0" y="0"/>
    </p:cViewPr>
  </p:notesTextViewPr>
  <p:sorterViewPr>
    <p:cViewPr>
      <p:scale>
        <a:sx n="50" d="100"/>
        <a:sy n="50" d="100"/>
      </p:scale>
      <p:origin x="0" y="-5814"/>
    </p:cViewPr>
  </p:sorterViewPr>
  <p:notesViewPr>
    <p:cSldViewPr snapToGrid="0"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Wenzel" userId="6acc32ce-9657-429b-a204-ad039ae9e71f" providerId="ADAL" clId="{CE9D8472-DA3B-4ED0-9480-B7547E8BB1FD}"/>
    <pc:docChg chg="undo custSel addSld delSld modSld sldOrd modSection">
      <pc:chgData name="Philip Wenzel" userId="6acc32ce-9657-429b-a204-ad039ae9e71f" providerId="ADAL" clId="{CE9D8472-DA3B-4ED0-9480-B7547E8BB1FD}" dt="2024-05-23T11:39:23.077" v="1022" actId="20577"/>
      <pc:docMkLst>
        <pc:docMk/>
      </pc:docMkLst>
      <pc:sldChg chg="addSp delSp modSp mod modClrScheme chgLayout">
        <pc:chgData name="Philip Wenzel" userId="6acc32ce-9657-429b-a204-ad039ae9e71f" providerId="ADAL" clId="{CE9D8472-DA3B-4ED0-9480-B7547E8BB1FD}" dt="2024-05-06T06:12:48.364" v="906" actId="27614"/>
        <pc:sldMkLst>
          <pc:docMk/>
          <pc:sldMk cId="3071119971" sldId="286"/>
        </pc:sldMkLst>
        <pc:spChg chg="mod ord">
          <ac:chgData name="Philip Wenzel" userId="6acc32ce-9657-429b-a204-ad039ae9e71f" providerId="ADAL" clId="{CE9D8472-DA3B-4ED0-9480-B7547E8BB1FD}" dt="2024-05-03T07:09:07.269" v="383" actId="700"/>
          <ac:spMkLst>
            <pc:docMk/>
            <pc:sldMk cId="3071119971" sldId="286"/>
            <ac:spMk id="2" creationId="{4249AB66-CBBB-43EF-9ADD-D056233717BF}"/>
          </ac:spMkLst>
        </pc:spChg>
        <pc:spChg chg="mod">
          <ac:chgData name="Philip Wenzel" userId="6acc32ce-9657-429b-a204-ad039ae9e71f" providerId="ADAL" clId="{CE9D8472-DA3B-4ED0-9480-B7547E8BB1FD}" dt="2024-05-03T07:08:52.438" v="381" actId="14100"/>
          <ac:spMkLst>
            <pc:docMk/>
            <pc:sldMk cId="3071119971" sldId="286"/>
            <ac:spMk id="3" creationId="{DF4EFF8A-432F-EE7B-9094-9DB92A4FC2EF}"/>
          </ac:spMkLst>
        </pc:spChg>
        <pc:spChg chg="add del mod ord">
          <ac:chgData name="Philip Wenzel" userId="6acc32ce-9657-429b-a204-ad039ae9e71f" providerId="ADAL" clId="{CE9D8472-DA3B-4ED0-9480-B7547E8BB1FD}" dt="2024-05-03T07:09:11.434" v="384" actId="478"/>
          <ac:spMkLst>
            <pc:docMk/>
            <pc:sldMk cId="3071119971" sldId="286"/>
            <ac:spMk id="4" creationId="{01D2BD9F-1A37-3E5E-F9E9-C6F6E098D4A4}"/>
          </ac:spMkLst>
        </pc:spChg>
        <pc:spChg chg="del mod ord">
          <ac:chgData name="Philip Wenzel" userId="6acc32ce-9657-429b-a204-ad039ae9e71f" providerId="ADAL" clId="{CE9D8472-DA3B-4ED0-9480-B7547E8BB1FD}" dt="2024-05-03T07:09:07.269" v="383" actId="700"/>
          <ac:spMkLst>
            <pc:docMk/>
            <pc:sldMk cId="3071119971" sldId="286"/>
            <ac:spMk id="6" creationId="{D92FBF1F-0791-ECBB-5B14-DA9F7BCC4081}"/>
          </ac:spMkLst>
        </pc:spChg>
        <pc:spChg chg="add mod ord">
          <ac:chgData name="Philip Wenzel" userId="6acc32ce-9657-429b-a204-ad039ae9e71f" providerId="ADAL" clId="{CE9D8472-DA3B-4ED0-9480-B7547E8BB1FD}" dt="2024-05-03T07:09:14.142" v="385"/>
          <ac:spMkLst>
            <pc:docMk/>
            <pc:sldMk cId="3071119971" sldId="286"/>
            <ac:spMk id="7" creationId="{D4408E7A-AB18-FF00-E2B2-8791D8E9D0E3}"/>
          </ac:spMkLst>
        </pc:spChg>
        <pc:spChg chg="add del mod ord">
          <ac:chgData name="Philip Wenzel" userId="6acc32ce-9657-429b-a204-ad039ae9e71f" providerId="ADAL" clId="{CE9D8472-DA3B-4ED0-9480-B7547E8BB1FD}" dt="2024-05-06T06:12:29.557" v="901"/>
          <ac:spMkLst>
            <pc:docMk/>
            <pc:sldMk cId="3071119971" sldId="286"/>
            <ac:spMk id="8" creationId="{9E96DEB6-49FB-C40E-DD03-50A594847FA4}"/>
          </ac:spMkLst>
        </pc:spChg>
        <pc:spChg chg="add del mod">
          <ac:chgData name="Philip Wenzel" userId="6acc32ce-9657-429b-a204-ad039ae9e71f" providerId="ADAL" clId="{CE9D8472-DA3B-4ED0-9480-B7547E8BB1FD}" dt="2024-05-06T06:12:40.837" v="905"/>
          <ac:spMkLst>
            <pc:docMk/>
            <pc:sldMk cId="3071119971" sldId="286"/>
            <ac:spMk id="10" creationId="{20F3F5E7-30B0-E8F2-E8AD-07D7D12A8FE3}"/>
          </ac:spMkLst>
        </pc:spChg>
        <pc:picChg chg="add del mod">
          <ac:chgData name="Philip Wenzel" userId="6acc32ce-9657-429b-a204-ad039ae9e71f" providerId="ADAL" clId="{CE9D8472-DA3B-4ED0-9480-B7547E8BB1FD}" dt="2024-05-06T06:12:38.389" v="904" actId="478"/>
          <ac:picMkLst>
            <pc:docMk/>
            <pc:sldMk cId="3071119971" sldId="286"/>
            <ac:picMk id="6" creationId="{C43E6291-68A3-93BF-3D92-E0F236E9F520}"/>
          </ac:picMkLst>
        </pc:picChg>
        <pc:picChg chg="add mod">
          <ac:chgData name="Philip Wenzel" userId="6acc32ce-9657-429b-a204-ad039ae9e71f" providerId="ADAL" clId="{CE9D8472-DA3B-4ED0-9480-B7547E8BB1FD}" dt="2024-05-06T06:12:48.364" v="906" actId="27614"/>
          <ac:picMkLst>
            <pc:docMk/>
            <pc:sldMk cId="3071119971" sldId="286"/>
            <ac:picMk id="12" creationId="{955E000A-E180-27D9-5508-E1EFE80D2E1E}"/>
          </ac:picMkLst>
        </pc:picChg>
      </pc:sldChg>
      <pc:sldChg chg="modSp mod">
        <pc:chgData name="Philip Wenzel" userId="6acc32ce-9657-429b-a204-ad039ae9e71f" providerId="ADAL" clId="{CE9D8472-DA3B-4ED0-9480-B7547E8BB1FD}" dt="2024-05-23T11:39:23.077" v="1022" actId="20577"/>
        <pc:sldMkLst>
          <pc:docMk/>
          <pc:sldMk cId="84909877" sldId="359"/>
        </pc:sldMkLst>
        <pc:spChg chg="mod">
          <ac:chgData name="Philip Wenzel" userId="6acc32ce-9657-429b-a204-ad039ae9e71f" providerId="ADAL" clId="{CE9D8472-DA3B-4ED0-9480-B7547E8BB1FD}" dt="2024-05-23T11:39:23.077" v="1022" actId="20577"/>
          <ac:spMkLst>
            <pc:docMk/>
            <pc:sldMk cId="84909877" sldId="359"/>
            <ac:spMk id="5" creationId="{CC24C50A-6133-4997-BD17-338D41E40979}"/>
          </ac:spMkLst>
        </pc:spChg>
      </pc:sldChg>
      <pc:sldChg chg="modSp mod">
        <pc:chgData name="Philip Wenzel" userId="6acc32ce-9657-429b-a204-ad039ae9e71f" providerId="ADAL" clId="{CE9D8472-DA3B-4ED0-9480-B7547E8BB1FD}" dt="2024-04-26T09:37:19.312" v="347" actId="207"/>
        <pc:sldMkLst>
          <pc:docMk/>
          <pc:sldMk cId="1174452327" sldId="1640"/>
        </pc:sldMkLst>
        <pc:graphicFrameChg chg="modGraphic">
          <ac:chgData name="Philip Wenzel" userId="6acc32ce-9657-429b-a204-ad039ae9e71f" providerId="ADAL" clId="{CE9D8472-DA3B-4ED0-9480-B7547E8BB1FD}" dt="2024-04-26T09:37:19.312" v="347" actId="207"/>
          <ac:graphicFrameMkLst>
            <pc:docMk/>
            <pc:sldMk cId="1174452327" sldId="1640"/>
            <ac:graphicFrameMk id="8" creationId="{1904EB4B-3EC3-5C23-A40C-D9783B8A4CB0}"/>
          </ac:graphicFrameMkLst>
        </pc:graphicFrameChg>
      </pc:sldChg>
      <pc:sldChg chg="modSp mod">
        <pc:chgData name="Philip Wenzel" userId="6acc32ce-9657-429b-a204-ad039ae9e71f" providerId="ADAL" clId="{CE9D8472-DA3B-4ED0-9480-B7547E8BB1FD}" dt="2024-04-26T09:37:36.591" v="348" actId="207"/>
        <pc:sldMkLst>
          <pc:docMk/>
          <pc:sldMk cId="427736484" sldId="1663"/>
        </pc:sldMkLst>
        <pc:spChg chg="mod">
          <ac:chgData name="Philip Wenzel" userId="6acc32ce-9657-429b-a204-ad039ae9e71f" providerId="ADAL" clId="{CE9D8472-DA3B-4ED0-9480-B7547E8BB1FD}" dt="2024-04-26T09:37:36.591" v="348" actId="207"/>
          <ac:spMkLst>
            <pc:docMk/>
            <pc:sldMk cId="427736484" sldId="1663"/>
            <ac:spMk id="6" creationId="{0E9F6F68-623E-6D47-4A8C-1CBDBD785731}"/>
          </ac:spMkLst>
        </pc:spChg>
        <pc:spChg chg="mod">
          <ac:chgData name="Philip Wenzel" userId="6acc32ce-9657-429b-a204-ad039ae9e71f" providerId="ADAL" clId="{CE9D8472-DA3B-4ED0-9480-B7547E8BB1FD}" dt="2024-04-26T09:37:36.591" v="348" actId="207"/>
          <ac:spMkLst>
            <pc:docMk/>
            <pc:sldMk cId="427736484" sldId="1663"/>
            <ac:spMk id="7" creationId="{F7D1ADD3-A42B-8C41-BAA4-2983EC103342}"/>
          </ac:spMkLst>
        </pc:spChg>
        <pc:spChg chg="mod">
          <ac:chgData name="Philip Wenzel" userId="6acc32ce-9657-429b-a204-ad039ae9e71f" providerId="ADAL" clId="{CE9D8472-DA3B-4ED0-9480-B7547E8BB1FD}" dt="2024-04-26T09:37:36.591" v="348" actId="207"/>
          <ac:spMkLst>
            <pc:docMk/>
            <pc:sldMk cId="427736484" sldId="1663"/>
            <ac:spMk id="9" creationId="{01DF30CF-A6F1-2FD3-A185-2A454FBD822D}"/>
          </ac:spMkLst>
        </pc:spChg>
        <pc:spChg chg="mod">
          <ac:chgData name="Philip Wenzel" userId="6acc32ce-9657-429b-a204-ad039ae9e71f" providerId="ADAL" clId="{CE9D8472-DA3B-4ED0-9480-B7547E8BB1FD}" dt="2024-04-26T09:37:36.591" v="348" actId="207"/>
          <ac:spMkLst>
            <pc:docMk/>
            <pc:sldMk cId="427736484" sldId="1663"/>
            <ac:spMk id="11" creationId="{3E6649DF-6509-A53E-6CF4-3BF537B08075}"/>
          </ac:spMkLst>
        </pc:spChg>
        <pc:spChg chg="mod">
          <ac:chgData name="Philip Wenzel" userId="6acc32ce-9657-429b-a204-ad039ae9e71f" providerId="ADAL" clId="{CE9D8472-DA3B-4ED0-9480-B7547E8BB1FD}" dt="2024-04-26T09:37:36.591" v="348" actId="207"/>
          <ac:spMkLst>
            <pc:docMk/>
            <pc:sldMk cId="427736484" sldId="1663"/>
            <ac:spMk id="13" creationId="{613F50E7-5271-32B2-D40F-AE13F57CF1F7}"/>
          </ac:spMkLst>
        </pc:spChg>
        <pc:spChg chg="mod">
          <ac:chgData name="Philip Wenzel" userId="6acc32ce-9657-429b-a204-ad039ae9e71f" providerId="ADAL" clId="{CE9D8472-DA3B-4ED0-9480-B7547E8BB1FD}" dt="2024-04-26T09:37:36.591" v="348" actId="207"/>
          <ac:spMkLst>
            <pc:docMk/>
            <pc:sldMk cId="427736484" sldId="1663"/>
            <ac:spMk id="14" creationId="{B40FCF12-E3E6-FDE1-E2EF-A2CB4D8DA2AF}"/>
          </ac:spMkLst>
        </pc:spChg>
        <pc:spChg chg="mod">
          <ac:chgData name="Philip Wenzel" userId="6acc32ce-9657-429b-a204-ad039ae9e71f" providerId="ADAL" clId="{CE9D8472-DA3B-4ED0-9480-B7547E8BB1FD}" dt="2024-04-26T09:37:36.591" v="348" actId="207"/>
          <ac:spMkLst>
            <pc:docMk/>
            <pc:sldMk cId="427736484" sldId="1663"/>
            <ac:spMk id="16" creationId="{1569540D-68EF-7A85-6B93-6989775F71D5}"/>
          </ac:spMkLst>
        </pc:spChg>
        <pc:spChg chg="mod">
          <ac:chgData name="Philip Wenzel" userId="6acc32ce-9657-429b-a204-ad039ae9e71f" providerId="ADAL" clId="{CE9D8472-DA3B-4ED0-9480-B7547E8BB1FD}" dt="2024-04-26T09:37:36.591" v="348" actId="207"/>
          <ac:spMkLst>
            <pc:docMk/>
            <pc:sldMk cId="427736484" sldId="1663"/>
            <ac:spMk id="17" creationId="{C55EE181-3931-1892-088B-7F325FCA3C72}"/>
          </ac:spMkLst>
        </pc:spChg>
        <pc:spChg chg="mod">
          <ac:chgData name="Philip Wenzel" userId="6acc32ce-9657-429b-a204-ad039ae9e71f" providerId="ADAL" clId="{CE9D8472-DA3B-4ED0-9480-B7547E8BB1FD}" dt="2024-04-26T09:37:36.591" v="348" actId="207"/>
          <ac:spMkLst>
            <pc:docMk/>
            <pc:sldMk cId="427736484" sldId="1663"/>
            <ac:spMk id="18" creationId="{03D040DC-5284-61BC-2084-1A6A8A7C8CA4}"/>
          </ac:spMkLst>
        </pc:spChg>
        <pc:grpChg chg="mod">
          <ac:chgData name="Philip Wenzel" userId="6acc32ce-9657-429b-a204-ad039ae9e71f" providerId="ADAL" clId="{CE9D8472-DA3B-4ED0-9480-B7547E8BB1FD}" dt="2024-04-26T09:37:36.591" v="348" actId="207"/>
          <ac:grpSpMkLst>
            <pc:docMk/>
            <pc:sldMk cId="427736484" sldId="1663"/>
            <ac:grpSpMk id="4" creationId="{AD22A122-1CC9-BA04-8735-FCCA753A819D}"/>
          </ac:grpSpMkLst>
        </pc:grpChg>
        <pc:grpChg chg="mod">
          <ac:chgData name="Philip Wenzel" userId="6acc32ce-9657-429b-a204-ad039ae9e71f" providerId="ADAL" clId="{CE9D8472-DA3B-4ED0-9480-B7547E8BB1FD}" dt="2024-04-26T09:37:36.591" v="348" actId="207"/>
          <ac:grpSpMkLst>
            <pc:docMk/>
            <pc:sldMk cId="427736484" sldId="1663"/>
            <ac:grpSpMk id="8" creationId="{71C03332-A1B2-CE52-228F-8AC9E3E95E74}"/>
          </ac:grpSpMkLst>
        </pc:grpChg>
        <pc:grpChg chg="mod">
          <ac:chgData name="Philip Wenzel" userId="6acc32ce-9657-429b-a204-ad039ae9e71f" providerId="ADAL" clId="{CE9D8472-DA3B-4ED0-9480-B7547E8BB1FD}" dt="2024-04-26T09:37:36.591" v="348" actId="207"/>
          <ac:grpSpMkLst>
            <pc:docMk/>
            <pc:sldMk cId="427736484" sldId="1663"/>
            <ac:grpSpMk id="12" creationId="{AD8C7114-4EAF-5D6D-162E-1F24C794FC68}"/>
          </ac:grpSpMkLst>
        </pc:grpChg>
        <pc:grpChg chg="mod">
          <ac:chgData name="Philip Wenzel" userId="6acc32ce-9657-429b-a204-ad039ae9e71f" providerId="ADAL" clId="{CE9D8472-DA3B-4ED0-9480-B7547E8BB1FD}" dt="2024-04-26T09:37:36.591" v="348" actId="207"/>
          <ac:grpSpMkLst>
            <pc:docMk/>
            <pc:sldMk cId="427736484" sldId="1663"/>
            <ac:grpSpMk id="15" creationId="{68E2557B-F172-6BAF-E92C-7C2E2970B69F}"/>
          </ac:grpSpMkLst>
        </pc:grpChg>
      </pc:sldChg>
      <pc:sldChg chg="addSp delSp modSp mod modClrScheme chgLayout">
        <pc:chgData name="Philip Wenzel" userId="6acc32ce-9657-429b-a204-ad039ae9e71f" providerId="ADAL" clId="{CE9D8472-DA3B-4ED0-9480-B7547E8BB1FD}" dt="2024-05-23T10:08:25.379" v="990" actId="20577"/>
        <pc:sldMkLst>
          <pc:docMk/>
          <pc:sldMk cId="2167883223" sldId="1669"/>
        </pc:sldMkLst>
        <pc:spChg chg="mod ord">
          <ac:chgData name="Philip Wenzel" userId="6acc32ce-9657-429b-a204-ad039ae9e71f" providerId="ADAL" clId="{CE9D8472-DA3B-4ED0-9480-B7547E8BB1FD}" dt="2024-05-23T10:08:25.379" v="990" actId="20577"/>
          <ac:spMkLst>
            <pc:docMk/>
            <pc:sldMk cId="2167883223" sldId="1669"/>
            <ac:spMk id="2" creationId="{4249AB66-CBBB-43EF-9ADD-D056233717BF}"/>
          </ac:spMkLst>
        </pc:spChg>
        <pc:spChg chg="mod">
          <ac:chgData name="Philip Wenzel" userId="6acc32ce-9657-429b-a204-ad039ae9e71f" providerId="ADAL" clId="{CE9D8472-DA3B-4ED0-9480-B7547E8BB1FD}" dt="2024-05-03T09:33:13.877" v="452" actId="6549"/>
          <ac:spMkLst>
            <pc:docMk/>
            <pc:sldMk cId="2167883223" sldId="1669"/>
            <ac:spMk id="3" creationId="{DF4EFF8A-432F-EE7B-9094-9DB92A4FC2EF}"/>
          </ac:spMkLst>
        </pc:spChg>
        <pc:spChg chg="add del mod ord">
          <ac:chgData name="Philip Wenzel" userId="6acc32ce-9657-429b-a204-ad039ae9e71f" providerId="ADAL" clId="{CE9D8472-DA3B-4ED0-9480-B7547E8BB1FD}" dt="2024-05-06T06:13:38.969" v="912"/>
          <ac:spMkLst>
            <pc:docMk/>
            <pc:sldMk cId="2167883223" sldId="1669"/>
            <ac:spMk id="4" creationId="{447E818E-9ED0-C76F-0028-89FAD820EDF7}"/>
          </ac:spMkLst>
        </pc:spChg>
        <pc:spChg chg="add mod ord">
          <ac:chgData name="Philip Wenzel" userId="6acc32ce-9657-429b-a204-ad039ae9e71f" providerId="ADAL" clId="{CE9D8472-DA3B-4ED0-9480-B7547E8BB1FD}" dt="2024-05-03T09:33:05.116" v="450" actId="20577"/>
          <ac:spMkLst>
            <pc:docMk/>
            <pc:sldMk cId="2167883223" sldId="1669"/>
            <ac:spMk id="6" creationId="{6E2076B6-2618-2144-83A5-5A1C88D61B55}"/>
          </ac:spMkLst>
        </pc:spChg>
        <pc:spChg chg="add del mod">
          <ac:chgData name="Philip Wenzel" userId="6acc32ce-9657-429b-a204-ad039ae9e71f" providerId="ADAL" clId="{CE9D8472-DA3B-4ED0-9480-B7547E8BB1FD}" dt="2024-05-03T09:32:54.308" v="410" actId="478"/>
          <ac:spMkLst>
            <pc:docMk/>
            <pc:sldMk cId="2167883223" sldId="1669"/>
            <ac:spMk id="8" creationId="{A3BEF639-3F7A-9F42-B219-E317C8CA30BB}"/>
          </ac:spMkLst>
        </pc:spChg>
        <pc:spChg chg="del mod ord">
          <ac:chgData name="Philip Wenzel" userId="6acc32ce-9657-429b-a204-ad039ae9e71f" providerId="ADAL" clId="{CE9D8472-DA3B-4ED0-9480-B7547E8BB1FD}" dt="2024-05-03T09:32:49.430" v="409" actId="478"/>
          <ac:spMkLst>
            <pc:docMk/>
            <pc:sldMk cId="2167883223" sldId="1669"/>
            <ac:spMk id="10" creationId="{CE4BC898-CC4E-43C8-8CEF-A9740B265FF4}"/>
          </ac:spMkLst>
        </pc:spChg>
        <pc:picChg chg="add mod">
          <ac:chgData name="Philip Wenzel" userId="6acc32ce-9657-429b-a204-ad039ae9e71f" providerId="ADAL" clId="{CE9D8472-DA3B-4ED0-9480-B7547E8BB1FD}" dt="2024-05-06T06:13:45.757" v="913" actId="27614"/>
          <ac:picMkLst>
            <pc:docMk/>
            <pc:sldMk cId="2167883223" sldId="1669"/>
            <ac:picMk id="8" creationId="{9A7B0E5B-4D96-47AB-4E10-E114600F6626}"/>
          </ac:picMkLst>
        </pc:picChg>
      </pc:sldChg>
      <pc:sldChg chg="addSp delSp modSp mod modClrScheme addAnim delAnim modAnim chgLayout">
        <pc:chgData name="Philip Wenzel" userId="6acc32ce-9657-429b-a204-ad039ae9e71f" providerId="ADAL" clId="{CE9D8472-DA3B-4ED0-9480-B7547E8BB1FD}" dt="2024-05-23T10:14:45.119" v="1004" actId="20577"/>
        <pc:sldMkLst>
          <pc:docMk/>
          <pc:sldMk cId="687670586" sldId="1670"/>
        </pc:sldMkLst>
        <pc:spChg chg="mod ord">
          <ac:chgData name="Philip Wenzel" userId="6acc32ce-9657-429b-a204-ad039ae9e71f" providerId="ADAL" clId="{CE9D8472-DA3B-4ED0-9480-B7547E8BB1FD}" dt="2024-05-23T10:14:45.119" v="1004" actId="20577"/>
          <ac:spMkLst>
            <pc:docMk/>
            <pc:sldMk cId="687670586" sldId="1670"/>
            <ac:spMk id="2" creationId="{4249AB66-CBBB-43EF-9ADD-D056233717BF}"/>
          </ac:spMkLst>
        </pc:spChg>
        <pc:spChg chg="add del mod">
          <ac:chgData name="Philip Wenzel" userId="6acc32ce-9657-429b-a204-ad039ae9e71f" providerId="ADAL" clId="{CE9D8472-DA3B-4ED0-9480-B7547E8BB1FD}" dt="2024-05-06T06:15:13.665" v="950" actId="1076"/>
          <ac:spMkLst>
            <pc:docMk/>
            <pc:sldMk cId="687670586" sldId="1670"/>
            <ac:spMk id="3" creationId="{DF4EFF8A-432F-EE7B-9094-9DB92A4FC2EF}"/>
          </ac:spMkLst>
        </pc:spChg>
        <pc:spChg chg="add del mod ord">
          <ac:chgData name="Philip Wenzel" userId="6acc32ce-9657-429b-a204-ad039ae9e71f" providerId="ADAL" clId="{CE9D8472-DA3B-4ED0-9480-B7547E8BB1FD}" dt="2024-05-06T06:14:54.159" v="924" actId="478"/>
          <ac:spMkLst>
            <pc:docMk/>
            <pc:sldMk cId="687670586" sldId="1670"/>
            <ac:spMk id="4" creationId="{B7657D25-50CE-8D0E-01AC-7469D4CC913A}"/>
          </ac:spMkLst>
        </pc:spChg>
        <pc:spChg chg="add del mod ord">
          <ac:chgData name="Philip Wenzel" userId="6acc32ce-9657-429b-a204-ad039ae9e71f" providerId="ADAL" clId="{CE9D8472-DA3B-4ED0-9480-B7547E8BB1FD}" dt="2024-05-06T06:13:53.887" v="914"/>
          <ac:spMkLst>
            <pc:docMk/>
            <pc:sldMk cId="687670586" sldId="1670"/>
            <ac:spMk id="6" creationId="{47E8D5E5-D4EE-B9D3-17E0-07B55D473217}"/>
          </ac:spMkLst>
        </pc:spChg>
        <pc:spChg chg="add del mod">
          <ac:chgData name="Philip Wenzel" userId="6acc32ce-9657-429b-a204-ad039ae9e71f" providerId="ADAL" clId="{CE9D8472-DA3B-4ED0-9480-B7547E8BB1FD}" dt="2024-05-03T09:34:15.724" v="485" actId="478"/>
          <ac:spMkLst>
            <pc:docMk/>
            <pc:sldMk cId="687670586" sldId="1670"/>
            <ac:spMk id="8" creationId="{0328C646-2DFC-4D9C-B5CC-286265041ED0}"/>
          </ac:spMkLst>
        </pc:spChg>
        <pc:spChg chg="add mod ord">
          <ac:chgData name="Philip Wenzel" userId="6acc32ce-9657-429b-a204-ad039ae9e71f" providerId="ADAL" clId="{CE9D8472-DA3B-4ED0-9480-B7547E8BB1FD}" dt="2024-05-06T06:15:06.550" v="949" actId="20577"/>
          <ac:spMkLst>
            <pc:docMk/>
            <pc:sldMk cId="687670586" sldId="1670"/>
            <ac:spMk id="9" creationId="{09C4645B-2DBE-DDCD-DFE7-EAF5A25628BA}"/>
          </ac:spMkLst>
        </pc:spChg>
        <pc:spChg chg="del mod ord">
          <ac:chgData name="Philip Wenzel" userId="6acc32ce-9657-429b-a204-ad039ae9e71f" providerId="ADAL" clId="{CE9D8472-DA3B-4ED0-9480-B7547E8BB1FD}" dt="2024-05-03T09:34:13.119" v="484" actId="478"/>
          <ac:spMkLst>
            <pc:docMk/>
            <pc:sldMk cId="687670586" sldId="1670"/>
            <ac:spMk id="10" creationId="{CE4BC898-CC4E-43C8-8CEF-A9740B265FF4}"/>
          </ac:spMkLst>
        </pc:spChg>
        <pc:spChg chg="add del mod">
          <ac:chgData name="Philip Wenzel" userId="6acc32ce-9657-429b-a204-ad039ae9e71f" providerId="ADAL" clId="{CE9D8472-DA3B-4ED0-9480-B7547E8BB1FD}" dt="2024-05-06T06:14:56.869" v="925" actId="478"/>
          <ac:spMkLst>
            <pc:docMk/>
            <pc:sldMk cId="687670586" sldId="1670"/>
            <ac:spMk id="11" creationId="{1D424824-9D7B-0001-0811-6566CC418B76}"/>
          </ac:spMkLst>
        </pc:spChg>
        <pc:graphicFrameChg chg="del">
          <ac:chgData name="Philip Wenzel" userId="6acc32ce-9657-429b-a204-ad039ae9e71f" providerId="ADAL" clId="{CE9D8472-DA3B-4ED0-9480-B7547E8BB1FD}" dt="2024-04-09T14:53:06.944" v="119" actId="478"/>
          <ac:graphicFrameMkLst>
            <pc:docMk/>
            <pc:sldMk cId="687670586" sldId="1670"/>
            <ac:graphicFrameMk id="8" creationId="{6E6C91B1-25CE-DCC3-DB9A-FBE35DF2A720}"/>
          </ac:graphicFrameMkLst>
        </pc:graphicFrameChg>
        <pc:picChg chg="add mod ord modCrop">
          <ac:chgData name="Philip Wenzel" userId="6acc32ce-9657-429b-a204-ad039ae9e71f" providerId="ADAL" clId="{CE9D8472-DA3B-4ED0-9480-B7547E8BB1FD}" dt="2024-05-06T06:14:38.056" v="920" actId="700"/>
          <ac:picMkLst>
            <pc:docMk/>
            <pc:sldMk cId="687670586" sldId="1670"/>
            <ac:picMk id="8" creationId="{B251FD77-CF79-AF0B-7FFF-D6C3829D96A9}"/>
          </ac:picMkLst>
        </pc:picChg>
        <pc:picChg chg="del">
          <ac:chgData name="Philip Wenzel" userId="6acc32ce-9657-429b-a204-ad039ae9e71f" providerId="ADAL" clId="{CE9D8472-DA3B-4ED0-9480-B7547E8BB1FD}" dt="2024-04-09T14:53:02.682" v="118" actId="478"/>
          <ac:picMkLst>
            <pc:docMk/>
            <pc:sldMk cId="687670586" sldId="1670"/>
            <ac:picMk id="9" creationId="{91479A34-ED5F-0623-3DAC-01C02F67E18B}"/>
          </ac:picMkLst>
        </pc:picChg>
        <pc:picChg chg="del">
          <ac:chgData name="Philip Wenzel" userId="6acc32ce-9657-429b-a204-ad039ae9e71f" providerId="ADAL" clId="{CE9D8472-DA3B-4ED0-9480-B7547E8BB1FD}" dt="2024-04-09T14:53:02.682" v="118" actId="478"/>
          <ac:picMkLst>
            <pc:docMk/>
            <pc:sldMk cId="687670586" sldId="1670"/>
            <ac:picMk id="11" creationId="{B0D67BA0-BF82-074F-F5B7-6FBF1378F1B4}"/>
          </ac:picMkLst>
        </pc:picChg>
      </pc:sldChg>
      <pc:sldChg chg="addSp delSp modSp mod">
        <pc:chgData name="Philip Wenzel" userId="6acc32ce-9657-429b-a204-ad039ae9e71f" providerId="ADAL" clId="{CE9D8472-DA3B-4ED0-9480-B7547E8BB1FD}" dt="2024-05-23T10:05:58.261" v="988" actId="404"/>
        <pc:sldMkLst>
          <pc:docMk/>
          <pc:sldMk cId="777377501" sldId="1674"/>
        </pc:sldMkLst>
        <pc:spChg chg="mod">
          <ac:chgData name="Philip Wenzel" userId="6acc32ce-9657-429b-a204-ad039ae9e71f" providerId="ADAL" clId="{CE9D8472-DA3B-4ED0-9480-B7547E8BB1FD}" dt="2024-05-03T09:28:54.644" v="392" actId="14100"/>
          <ac:spMkLst>
            <pc:docMk/>
            <pc:sldMk cId="777377501" sldId="1674"/>
            <ac:spMk id="3" creationId="{DF4EFF8A-432F-EE7B-9094-9DB92A4FC2EF}"/>
          </ac:spMkLst>
        </pc:spChg>
        <pc:graphicFrameChg chg="add mod modGraphic">
          <ac:chgData name="Philip Wenzel" userId="6acc32ce-9657-429b-a204-ad039ae9e71f" providerId="ADAL" clId="{CE9D8472-DA3B-4ED0-9480-B7547E8BB1FD}" dt="2024-05-23T10:05:58.261" v="988" actId="404"/>
          <ac:graphicFrameMkLst>
            <pc:docMk/>
            <pc:sldMk cId="777377501" sldId="1674"/>
            <ac:graphicFrameMk id="4" creationId="{C7569321-A35E-A78F-7716-A6E3F6E373BC}"/>
          </ac:graphicFrameMkLst>
        </pc:graphicFrameChg>
        <pc:picChg chg="add del mod">
          <ac:chgData name="Philip Wenzel" userId="6acc32ce-9657-429b-a204-ad039ae9e71f" providerId="ADAL" clId="{CE9D8472-DA3B-4ED0-9480-B7547E8BB1FD}" dt="2024-05-23T10:02:59.309" v="967" actId="478"/>
          <ac:picMkLst>
            <pc:docMk/>
            <pc:sldMk cId="777377501" sldId="1674"/>
            <ac:picMk id="6" creationId="{235A8DEC-3226-EF93-F80F-355C8AC6F038}"/>
          </ac:picMkLst>
        </pc:picChg>
      </pc:sldChg>
      <pc:sldChg chg="addSp delSp modSp mod">
        <pc:chgData name="Philip Wenzel" userId="6acc32ce-9657-429b-a204-ad039ae9e71f" providerId="ADAL" clId="{CE9D8472-DA3B-4ED0-9480-B7547E8BB1FD}" dt="2024-05-23T10:05:19.646" v="984" actId="404"/>
        <pc:sldMkLst>
          <pc:docMk/>
          <pc:sldMk cId="3897335136" sldId="1675"/>
        </pc:sldMkLst>
        <pc:spChg chg="mod">
          <ac:chgData name="Philip Wenzel" userId="6acc32ce-9657-429b-a204-ad039ae9e71f" providerId="ADAL" clId="{CE9D8472-DA3B-4ED0-9480-B7547E8BB1FD}" dt="2024-05-03T09:29:22.509" v="395" actId="14100"/>
          <ac:spMkLst>
            <pc:docMk/>
            <pc:sldMk cId="3897335136" sldId="1675"/>
            <ac:spMk id="3" creationId="{DF4EFF8A-432F-EE7B-9094-9DB92A4FC2EF}"/>
          </ac:spMkLst>
        </pc:spChg>
        <pc:graphicFrameChg chg="add mod modGraphic">
          <ac:chgData name="Philip Wenzel" userId="6acc32ce-9657-429b-a204-ad039ae9e71f" providerId="ADAL" clId="{CE9D8472-DA3B-4ED0-9480-B7547E8BB1FD}" dt="2024-05-23T10:05:19.646" v="984" actId="404"/>
          <ac:graphicFrameMkLst>
            <pc:docMk/>
            <pc:sldMk cId="3897335136" sldId="1675"/>
            <ac:graphicFrameMk id="6" creationId="{3EF32FBB-B836-607A-EBC5-A7F5783C9560}"/>
          </ac:graphicFrameMkLst>
        </pc:graphicFrameChg>
        <pc:picChg chg="add del mod">
          <ac:chgData name="Philip Wenzel" userId="6acc32ce-9657-429b-a204-ad039ae9e71f" providerId="ADAL" clId="{CE9D8472-DA3B-4ED0-9480-B7547E8BB1FD}" dt="2024-05-23T10:04:37.556" v="979" actId="478"/>
          <ac:picMkLst>
            <pc:docMk/>
            <pc:sldMk cId="3897335136" sldId="1675"/>
            <ac:picMk id="4" creationId="{FB96E26D-4136-9853-88A0-D3F8EB055ED6}"/>
          </ac:picMkLst>
        </pc:picChg>
      </pc:sldChg>
      <pc:sldChg chg="addSp delSp modSp mod">
        <pc:chgData name="Philip Wenzel" userId="6acc32ce-9657-429b-a204-ad039ae9e71f" providerId="ADAL" clId="{CE9D8472-DA3B-4ED0-9480-B7547E8BB1FD}" dt="2024-05-23T10:05:36.197" v="986" actId="404"/>
        <pc:sldMkLst>
          <pc:docMk/>
          <pc:sldMk cId="2685633474" sldId="1676"/>
        </pc:sldMkLst>
        <pc:spChg chg="mod">
          <ac:chgData name="Philip Wenzel" userId="6acc32ce-9657-429b-a204-ad039ae9e71f" providerId="ADAL" clId="{CE9D8472-DA3B-4ED0-9480-B7547E8BB1FD}" dt="2024-05-03T09:29:37.602" v="397" actId="14100"/>
          <ac:spMkLst>
            <pc:docMk/>
            <pc:sldMk cId="2685633474" sldId="1676"/>
            <ac:spMk id="3" creationId="{DF4EFF8A-432F-EE7B-9094-9DB92A4FC2EF}"/>
          </ac:spMkLst>
        </pc:spChg>
        <pc:graphicFrameChg chg="add mod modGraphic">
          <ac:chgData name="Philip Wenzel" userId="6acc32ce-9657-429b-a204-ad039ae9e71f" providerId="ADAL" clId="{CE9D8472-DA3B-4ED0-9480-B7547E8BB1FD}" dt="2024-05-23T10:05:36.197" v="986" actId="404"/>
          <ac:graphicFrameMkLst>
            <pc:docMk/>
            <pc:sldMk cId="2685633474" sldId="1676"/>
            <ac:graphicFrameMk id="6" creationId="{9FA20A1F-C39A-7945-E21C-5E1CECC28154}"/>
          </ac:graphicFrameMkLst>
        </pc:graphicFrameChg>
        <pc:picChg chg="add del mod">
          <ac:chgData name="Philip Wenzel" userId="6acc32ce-9657-429b-a204-ad039ae9e71f" providerId="ADAL" clId="{CE9D8472-DA3B-4ED0-9480-B7547E8BB1FD}" dt="2024-05-23T10:04:40.324" v="980" actId="478"/>
          <ac:picMkLst>
            <pc:docMk/>
            <pc:sldMk cId="2685633474" sldId="1676"/>
            <ac:picMk id="4" creationId="{02DEDB46-609F-9D56-0C77-DD7A4B96F062}"/>
          </ac:picMkLst>
        </pc:picChg>
      </pc:sldChg>
      <pc:sldChg chg="modSp mod">
        <pc:chgData name="Philip Wenzel" userId="6acc32ce-9657-429b-a204-ad039ae9e71f" providerId="ADAL" clId="{CE9D8472-DA3B-4ED0-9480-B7547E8BB1FD}" dt="2024-04-26T09:37:40.639" v="349" actId="207"/>
        <pc:sldMkLst>
          <pc:docMk/>
          <pc:sldMk cId="2925143432" sldId="1677"/>
        </pc:sldMkLst>
        <pc:spChg chg="mod">
          <ac:chgData name="Philip Wenzel" userId="6acc32ce-9657-429b-a204-ad039ae9e71f" providerId="ADAL" clId="{CE9D8472-DA3B-4ED0-9480-B7547E8BB1FD}" dt="2024-04-26T09:37:40.639" v="349" actId="207"/>
          <ac:spMkLst>
            <pc:docMk/>
            <pc:sldMk cId="2925143432" sldId="1677"/>
            <ac:spMk id="20" creationId="{E5945FBA-CE7A-F54C-1D82-5C9197EB00C9}"/>
          </ac:spMkLst>
        </pc:spChg>
        <pc:spChg chg="mod">
          <ac:chgData name="Philip Wenzel" userId="6acc32ce-9657-429b-a204-ad039ae9e71f" providerId="ADAL" clId="{CE9D8472-DA3B-4ED0-9480-B7547E8BB1FD}" dt="2024-04-26T09:37:40.639" v="349" actId="207"/>
          <ac:spMkLst>
            <pc:docMk/>
            <pc:sldMk cId="2925143432" sldId="1677"/>
            <ac:spMk id="21" creationId="{CEA8D650-7578-ABA5-181D-5B137113266B}"/>
          </ac:spMkLst>
        </pc:spChg>
        <pc:grpChg chg="mod">
          <ac:chgData name="Philip Wenzel" userId="6acc32ce-9657-429b-a204-ad039ae9e71f" providerId="ADAL" clId="{CE9D8472-DA3B-4ED0-9480-B7547E8BB1FD}" dt="2024-04-26T09:37:40.639" v="349" actId="207"/>
          <ac:grpSpMkLst>
            <pc:docMk/>
            <pc:sldMk cId="2925143432" sldId="1677"/>
            <ac:grpSpMk id="19" creationId="{6A33C932-4850-41D9-C83D-8165EB682839}"/>
          </ac:grpSpMkLst>
        </pc:grpChg>
      </pc:sldChg>
      <pc:sldChg chg="modSp mod">
        <pc:chgData name="Philip Wenzel" userId="6acc32ce-9657-429b-a204-ad039ae9e71f" providerId="ADAL" clId="{CE9D8472-DA3B-4ED0-9480-B7547E8BB1FD}" dt="2024-04-26T09:37:44.243" v="350" actId="207"/>
        <pc:sldMkLst>
          <pc:docMk/>
          <pc:sldMk cId="2910805322" sldId="1678"/>
        </pc:sldMkLst>
        <pc:spChg chg="mod">
          <ac:chgData name="Philip Wenzel" userId="6acc32ce-9657-429b-a204-ad039ae9e71f" providerId="ADAL" clId="{CE9D8472-DA3B-4ED0-9480-B7547E8BB1FD}" dt="2024-04-26T09:37:44.243" v="350" actId="207"/>
          <ac:spMkLst>
            <pc:docMk/>
            <pc:sldMk cId="2910805322" sldId="1678"/>
            <ac:spMk id="20" creationId="{E5945FBA-CE7A-F54C-1D82-5C9197EB00C9}"/>
          </ac:spMkLst>
        </pc:spChg>
        <pc:spChg chg="mod">
          <ac:chgData name="Philip Wenzel" userId="6acc32ce-9657-429b-a204-ad039ae9e71f" providerId="ADAL" clId="{CE9D8472-DA3B-4ED0-9480-B7547E8BB1FD}" dt="2024-04-26T09:37:44.243" v="350" actId="207"/>
          <ac:spMkLst>
            <pc:docMk/>
            <pc:sldMk cId="2910805322" sldId="1678"/>
            <ac:spMk id="21" creationId="{CEA8D650-7578-ABA5-181D-5B137113266B}"/>
          </ac:spMkLst>
        </pc:spChg>
        <pc:grpChg chg="mod">
          <ac:chgData name="Philip Wenzel" userId="6acc32ce-9657-429b-a204-ad039ae9e71f" providerId="ADAL" clId="{CE9D8472-DA3B-4ED0-9480-B7547E8BB1FD}" dt="2024-04-26T09:37:44.243" v="350" actId="207"/>
          <ac:grpSpMkLst>
            <pc:docMk/>
            <pc:sldMk cId="2910805322" sldId="1678"/>
            <ac:grpSpMk id="19" creationId="{6A33C932-4850-41D9-C83D-8165EB682839}"/>
          </ac:grpSpMkLst>
        </pc:grpChg>
      </pc:sldChg>
      <pc:sldChg chg="modSp mod">
        <pc:chgData name="Philip Wenzel" userId="6acc32ce-9657-429b-a204-ad039ae9e71f" providerId="ADAL" clId="{CE9D8472-DA3B-4ED0-9480-B7547E8BB1FD}" dt="2024-04-26T09:37:47.854" v="351" actId="207"/>
        <pc:sldMkLst>
          <pc:docMk/>
          <pc:sldMk cId="1873940636" sldId="1679"/>
        </pc:sldMkLst>
        <pc:spChg chg="mod">
          <ac:chgData name="Philip Wenzel" userId="6acc32ce-9657-429b-a204-ad039ae9e71f" providerId="ADAL" clId="{CE9D8472-DA3B-4ED0-9480-B7547E8BB1FD}" dt="2024-04-26T09:37:47.854" v="351" actId="207"/>
          <ac:spMkLst>
            <pc:docMk/>
            <pc:sldMk cId="1873940636" sldId="1679"/>
            <ac:spMk id="20" creationId="{E5945FBA-CE7A-F54C-1D82-5C9197EB00C9}"/>
          </ac:spMkLst>
        </pc:spChg>
        <pc:spChg chg="mod">
          <ac:chgData name="Philip Wenzel" userId="6acc32ce-9657-429b-a204-ad039ae9e71f" providerId="ADAL" clId="{CE9D8472-DA3B-4ED0-9480-B7547E8BB1FD}" dt="2024-04-26T09:37:47.854" v="351" actId="207"/>
          <ac:spMkLst>
            <pc:docMk/>
            <pc:sldMk cId="1873940636" sldId="1679"/>
            <ac:spMk id="21" creationId="{CEA8D650-7578-ABA5-181D-5B137113266B}"/>
          </ac:spMkLst>
        </pc:spChg>
        <pc:grpChg chg="mod">
          <ac:chgData name="Philip Wenzel" userId="6acc32ce-9657-429b-a204-ad039ae9e71f" providerId="ADAL" clId="{CE9D8472-DA3B-4ED0-9480-B7547E8BB1FD}" dt="2024-04-26T09:37:47.854" v="351" actId="207"/>
          <ac:grpSpMkLst>
            <pc:docMk/>
            <pc:sldMk cId="1873940636" sldId="1679"/>
            <ac:grpSpMk id="19" creationId="{6A33C932-4850-41D9-C83D-8165EB682839}"/>
          </ac:grpSpMkLst>
        </pc:grpChg>
      </pc:sldChg>
      <pc:sldChg chg="modSp mod">
        <pc:chgData name="Philip Wenzel" userId="6acc32ce-9657-429b-a204-ad039ae9e71f" providerId="ADAL" clId="{CE9D8472-DA3B-4ED0-9480-B7547E8BB1FD}" dt="2024-04-26T09:37:51.153" v="352" actId="207"/>
        <pc:sldMkLst>
          <pc:docMk/>
          <pc:sldMk cId="351930292" sldId="1680"/>
        </pc:sldMkLst>
        <pc:spChg chg="mod">
          <ac:chgData name="Philip Wenzel" userId="6acc32ce-9657-429b-a204-ad039ae9e71f" providerId="ADAL" clId="{CE9D8472-DA3B-4ED0-9480-B7547E8BB1FD}" dt="2024-04-26T09:37:51.153" v="352" actId="207"/>
          <ac:spMkLst>
            <pc:docMk/>
            <pc:sldMk cId="351930292" sldId="1680"/>
            <ac:spMk id="20" creationId="{E5945FBA-CE7A-F54C-1D82-5C9197EB00C9}"/>
          </ac:spMkLst>
        </pc:spChg>
        <pc:spChg chg="mod">
          <ac:chgData name="Philip Wenzel" userId="6acc32ce-9657-429b-a204-ad039ae9e71f" providerId="ADAL" clId="{CE9D8472-DA3B-4ED0-9480-B7547E8BB1FD}" dt="2024-04-26T09:37:51.153" v="352" actId="207"/>
          <ac:spMkLst>
            <pc:docMk/>
            <pc:sldMk cId="351930292" sldId="1680"/>
            <ac:spMk id="21" creationId="{CEA8D650-7578-ABA5-181D-5B137113266B}"/>
          </ac:spMkLst>
        </pc:spChg>
        <pc:grpChg chg="mod">
          <ac:chgData name="Philip Wenzel" userId="6acc32ce-9657-429b-a204-ad039ae9e71f" providerId="ADAL" clId="{CE9D8472-DA3B-4ED0-9480-B7547E8BB1FD}" dt="2024-04-26T09:37:51.153" v="352" actId="207"/>
          <ac:grpSpMkLst>
            <pc:docMk/>
            <pc:sldMk cId="351930292" sldId="1680"/>
            <ac:grpSpMk id="19" creationId="{6A33C932-4850-41D9-C83D-8165EB682839}"/>
          </ac:grpSpMkLst>
        </pc:grpChg>
      </pc:sldChg>
      <pc:sldChg chg="modSp mod">
        <pc:chgData name="Philip Wenzel" userId="6acc32ce-9657-429b-a204-ad039ae9e71f" providerId="ADAL" clId="{CE9D8472-DA3B-4ED0-9480-B7547E8BB1FD}" dt="2024-04-26T09:37:55.013" v="353" actId="207"/>
        <pc:sldMkLst>
          <pc:docMk/>
          <pc:sldMk cId="2884104057" sldId="1681"/>
        </pc:sldMkLst>
        <pc:spChg chg="mod">
          <ac:chgData name="Philip Wenzel" userId="6acc32ce-9657-429b-a204-ad039ae9e71f" providerId="ADAL" clId="{CE9D8472-DA3B-4ED0-9480-B7547E8BB1FD}" dt="2024-04-26T09:37:55.013" v="353" actId="207"/>
          <ac:spMkLst>
            <pc:docMk/>
            <pc:sldMk cId="2884104057" sldId="1681"/>
            <ac:spMk id="20" creationId="{E5945FBA-CE7A-F54C-1D82-5C9197EB00C9}"/>
          </ac:spMkLst>
        </pc:spChg>
        <pc:spChg chg="mod">
          <ac:chgData name="Philip Wenzel" userId="6acc32ce-9657-429b-a204-ad039ae9e71f" providerId="ADAL" clId="{CE9D8472-DA3B-4ED0-9480-B7547E8BB1FD}" dt="2024-04-26T09:37:55.013" v="353" actId="207"/>
          <ac:spMkLst>
            <pc:docMk/>
            <pc:sldMk cId="2884104057" sldId="1681"/>
            <ac:spMk id="21" creationId="{CEA8D650-7578-ABA5-181D-5B137113266B}"/>
          </ac:spMkLst>
        </pc:spChg>
        <pc:grpChg chg="mod">
          <ac:chgData name="Philip Wenzel" userId="6acc32ce-9657-429b-a204-ad039ae9e71f" providerId="ADAL" clId="{CE9D8472-DA3B-4ED0-9480-B7547E8BB1FD}" dt="2024-04-26T09:37:55.013" v="353" actId="207"/>
          <ac:grpSpMkLst>
            <pc:docMk/>
            <pc:sldMk cId="2884104057" sldId="1681"/>
            <ac:grpSpMk id="19" creationId="{6A33C932-4850-41D9-C83D-8165EB682839}"/>
          </ac:grpSpMkLst>
        </pc:grpChg>
      </pc:sldChg>
      <pc:sldChg chg="modSp mod">
        <pc:chgData name="Philip Wenzel" userId="6acc32ce-9657-429b-a204-ad039ae9e71f" providerId="ADAL" clId="{CE9D8472-DA3B-4ED0-9480-B7547E8BB1FD}" dt="2024-04-26T09:38:04.121" v="355" actId="207"/>
        <pc:sldMkLst>
          <pc:docMk/>
          <pc:sldMk cId="1614845156" sldId="1683"/>
        </pc:sldMkLst>
        <pc:spChg chg="mod">
          <ac:chgData name="Philip Wenzel" userId="6acc32ce-9657-429b-a204-ad039ae9e71f" providerId="ADAL" clId="{CE9D8472-DA3B-4ED0-9480-B7547E8BB1FD}" dt="2024-04-26T09:38:04.121" v="355" actId="207"/>
          <ac:spMkLst>
            <pc:docMk/>
            <pc:sldMk cId="1614845156" sldId="1683"/>
            <ac:spMk id="20" creationId="{E5945FBA-CE7A-F54C-1D82-5C9197EB00C9}"/>
          </ac:spMkLst>
        </pc:spChg>
        <pc:spChg chg="mod">
          <ac:chgData name="Philip Wenzel" userId="6acc32ce-9657-429b-a204-ad039ae9e71f" providerId="ADAL" clId="{CE9D8472-DA3B-4ED0-9480-B7547E8BB1FD}" dt="2024-04-26T09:38:00.878" v="354" actId="207"/>
          <ac:spMkLst>
            <pc:docMk/>
            <pc:sldMk cId="1614845156" sldId="1683"/>
            <ac:spMk id="21" creationId="{CEA8D650-7578-ABA5-181D-5B137113266B}"/>
          </ac:spMkLst>
        </pc:spChg>
      </pc:sldChg>
      <pc:sldChg chg="modSp mod">
        <pc:chgData name="Philip Wenzel" userId="6acc32ce-9657-429b-a204-ad039ae9e71f" providerId="ADAL" clId="{CE9D8472-DA3B-4ED0-9480-B7547E8BB1FD}" dt="2024-04-26T09:38:11.958" v="356" actId="207"/>
        <pc:sldMkLst>
          <pc:docMk/>
          <pc:sldMk cId="3107482331" sldId="1684"/>
        </pc:sldMkLst>
        <pc:spChg chg="mod">
          <ac:chgData name="Philip Wenzel" userId="6acc32ce-9657-429b-a204-ad039ae9e71f" providerId="ADAL" clId="{CE9D8472-DA3B-4ED0-9480-B7547E8BB1FD}" dt="2024-04-26T09:38:11.958" v="356" actId="207"/>
          <ac:spMkLst>
            <pc:docMk/>
            <pc:sldMk cId="3107482331" sldId="1684"/>
            <ac:spMk id="4" creationId="{19E6FC24-A832-418C-243F-D75EE6D3FB08}"/>
          </ac:spMkLst>
        </pc:spChg>
        <pc:spChg chg="mod">
          <ac:chgData name="Philip Wenzel" userId="6acc32ce-9657-429b-a204-ad039ae9e71f" providerId="ADAL" clId="{CE9D8472-DA3B-4ED0-9480-B7547E8BB1FD}" dt="2024-04-26T09:38:11.958" v="356" actId="207"/>
          <ac:spMkLst>
            <pc:docMk/>
            <pc:sldMk cId="3107482331" sldId="1684"/>
            <ac:spMk id="6" creationId="{94431BFA-B5A3-852E-521A-E53077FD0A14}"/>
          </ac:spMkLst>
        </pc:spChg>
        <pc:spChg chg="mod">
          <ac:chgData name="Philip Wenzel" userId="6acc32ce-9657-429b-a204-ad039ae9e71f" providerId="ADAL" clId="{CE9D8472-DA3B-4ED0-9480-B7547E8BB1FD}" dt="2024-04-26T09:38:11.958" v="356" actId="207"/>
          <ac:spMkLst>
            <pc:docMk/>
            <pc:sldMk cId="3107482331" sldId="1684"/>
            <ac:spMk id="8" creationId="{9B713037-BD96-99E8-92BC-036CA6FDFFE7}"/>
          </ac:spMkLst>
        </pc:spChg>
        <pc:spChg chg="mod">
          <ac:chgData name="Philip Wenzel" userId="6acc32ce-9657-429b-a204-ad039ae9e71f" providerId="ADAL" clId="{CE9D8472-DA3B-4ED0-9480-B7547E8BB1FD}" dt="2024-04-26T09:38:11.958" v="356" actId="207"/>
          <ac:spMkLst>
            <pc:docMk/>
            <pc:sldMk cId="3107482331" sldId="1684"/>
            <ac:spMk id="9" creationId="{6FCC3692-8F4C-2C29-2C84-4134D25FD3D9}"/>
          </ac:spMkLst>
        </pc:spChg>
        <pc:spChg chg="mod">
          <ac:chgData name="Philip Wenzel" userId="6acc32ce-9657-429b-a204-ad039ae9e71f" providerId="ADAL" clId="{CE9D8472-DA3B-4ED0-9480-B7547E8BB1FD}" dt="2024-04-26T09:38:11.958" v="356" actId="207"/>
          <ac:spMkLst>
            <pc:docMk/>
            <pc:sldMk cId="3107482331" sldId="1684"/>
            <ac:spMk id="12" creationId="{FE3AD120-DC45-33D1-EA31-8DDEC9A7AB65}"/>
          </ac:spMkLst>
        </pc:spChg>
        <pc:spChg chg="mod">
          <ac:chgData name="Philip Wenzel" userId="6acc32ce-9657-429b-a204-ad039ae9e71f" providerId="ADAL" clId="{CE9D8472-DA3B-4ED0-9480-B7547E8BB1FD}" dt="2024-04-26T09:38:11.958" v="356" actId="207"/>
          <ac:spMkLst>
            <pc:docMk/>
            <pc:sldMk cId="3107482331" sldId="1684"/>
            <ac:spMk id="13" creationId="{B2CD04DF-FBAF-7EF8-81E8-DD31DDD03800}"/>
          </ac:spMkLst>
        </pc:spChg>
        <pc:spChg chg="mod">
          <ac:chgData name="Philip Wenzel" userId="6acc32ce-9657-429b-a204-ad039ae9e71f" providerId="ADAL" clId="{CE9D8472-DA3B-4ED0-9480-B7547E8BB1FD}" dt="2024-04-26T09:38:11.958" v="356" actId="207"/>
          <ac:spMkLst>
            <pc:docMk/>
            <pc:sldMk cId="3107482331" sldId="1684"/>
            <ac:spMk id="15" creationId="{1145CCC4-363B-1518-328F-8752EF2BEE6D}"/>
          </ac:spMkLst>
        </pc:spChg>
        <pc:spChg chg="mod">
          <ac:chgData name="Philip Wenzel" userId="6acc32ce-9657-429b-a204-ad039ae9e71f" providerId="ADAL" clId="{CE9D8472-DA3B-4ED0-9480-B7547E8BB1FD}" dt="2024-04-26T09:38:11.958" v="356" actId="207"/>
          <ac:spMkLst>
            <pc:docMk/>
            <pc:sldMk cId="3107482331" sldId="1684"/>
            <ac:spMk id="16" creationId="{A3780353-65FA-2147-5BC7-DE731704C1EB}"/>
          </ac:spMkLst>
        </pc:spChg>
        <pc:spChg chg="mod">
          <ac:chgData name="Philip Wenzel" userId="6acc32ce-9657-429b-a204-ad039ae9e71f" providerId="ADAL" clId="{CE9D8472-DA3B-4ED0-9480-B7547E8BB1FD}" dt="2024-04-26T09:38:11.958" v="356" actId="207"/>
          <ac:spMkLst>
            <pc:docMk/>
            <pc:sldMk cId="3107482331" sldId="1684"/>
            <ac:spMk id="17" creationId="{57DC951C-8030-862E-1946-85D33CE944F4}"/>
          </ac:spMkLst>
        </pc:spChg>
        <pc:grpChg chg="mod">
          <ac:chgData name="Philip Wenzel" userId="6acc32ce-9657-429b-a204-ad039ae9e71f" providerId="ADAL" clId="{CE9D8472-DA3B-4ED0-9480-B7547E8BB1FD}" dt="2024-04-26T09:38:11.958" v="356" actId="207"/>
          <ac:grpSpMkLst>
            <pc:docMk/>
            <pc:sldMk cId="3107482331" sldId="1684"/>
            <ac:grpSpMk id="3" creationId="{EE44650E-AD36-A196-D4D6-F8AE6D300CFF}"/>
          </ac:grpSpMkLst>
        </pc:grpChg>
        <pc:grpChg chg="mod">
          <ac:chgData name="Philip Wenzel" userId="6acc32ce-9657-429b-a204-ad039ae9e71f" providerId="ADAL" clId="{CE9D8472-DA3B-4ED0-9480-B7547E8BB1FD}" dt="2024-04-26T09:38:11.958" v="356" actId="207"/>
          <ac:grpSpMkLst>
            <pc:docMk/>
            <pc:sldMk cId="3107482331" sldId="1684"/>
            <ac:grpSpMk id="7" creationId="{291F7733-1061-65CC-3DAB-3C1E03FB6ABD}"/>
          </ac:grpSpMkLst>
        </pc:grpChg>
        <pc:grpChg chg="mod">
          <ac:chgData name="Philip Wenzel" userId="6acc32ce-9657-429b-a204-ad039ae9e71f" providerId="ADAL" clId="{CE9D8472-DA3B-4ED0-9480-B7547E8BB1FD}" dt="2024-04-26T09:38:11.958" v="356" actId="207"/>
          <ac:grpSpMkLst>
            <pc:docMk/>
            <pc:sldMk cId="3107482331" sldId="1684"/>
            <ac:grpSpMk id="11" creationId="{6DB7C537-D4D4-ED05-E03E-47719A0760CF}"/>
          </ac:grpSpMkLst>
        </pc:grpChg>
        <pc:grpChg chg="mod">
          <ac:chgData name="Philip Wenzel" userId="6acc32ce-9657-429b-a204-ad039ae9e71f" providerId="ADAL" clId="{CE9D8472-DA3B-4ED0-9480-B7547E8BB1FD}" dt="2024-04-26T09:38:11.958" v="356" actId="207"/>
          <ac:grpSpMkLst>
            <pc:docMk/>
            <pc:sldMk cId="3107482331" sldId="1684"/>
            <ac:grpSpMk id="14" creationId="{E13A7ACD-368F-2EFF-5897-9621BDA2965F}"/>
          </ac:grpSpMkLst>
        </pc:grpChg>
      </pc:sldChg>
      <pc:sldChg chg="modSp mod">
        <pc:chgData name="Philip Wenzel" userId="6acc32ce-9657-429b-a204-ad039ae9e71f" providerId="ADAL" clId="{CE9D8472-DA3B-4ED0-9480-B7547E8BB1FD}" dt="2024-04-26T09:39:03.418" v="372" actId="207"/>
        <pc:sldMkLst>
          <pc:docMk/>
          <pc:sldMk cId="3133204788" sldId="1685"/>
        </pc:sldMkLst>
        <pc:spChg chg="mod">
          <ac:chgData name="Philip Wenzel" userId="6acc32ce-9657-429b-a204-ad039ae9e71f" providerId="ADAL" clId="{CE9D8472-DA3B-4ED0-9480-B7547E8BB1FD}" dt="2024-04-26T09:38:40.115" v="362" actId="207"/>
          <ac:spMkLst>
            <pc:docMk/>
            <pc:sldMk cId="3133204788" sldId="1685"/>
            <ac:spMk id="19" creationId="{B3270BC7-64DB-8671-93B0-EA064DDCDE00}"/>
          </ac:spMkLst>
        </pc:spChg>
        <pc:spChg chg="mod">
          <ac:chgData name="Philip Wenzel" userId="6acc32ce-9657-429b-a204-ad039ae9e71f" providerId="ADAL" clId="{CE9D8472-DA3B-4ED0-9480-B7547E8BB1FD}" dt="2024-04-26T09:39:03.418" v="372" actId="207"/>
          <ac:spMkLst>
            <pc:docMk/>
            <pc:sldMk cId="3133204788" sldId="1685"/>
            <ac:spMk id="20" creationId="{2998D46C-213E-2CA0-C486-7B82E78D2AD0}"/>
          </ac:spMkLst>
        </pc:spChg>
      </pc:sldChg>
      <pc:sldChg chg="modSp mod modAnim">
        <pc:chgData name="Philip Wenzel" userId="6acc32ce-9657-429b-a204-ad039ae9e71f" providerId="ADAL" clId="{CE9D8472-DA3B-4ED0-9480-B7547E8BB1FD}" dt="2024-05-23T10:14:08.292" v="1003"/>
        <pc:sldMkLst>
          <pc:docMk/>
          <pc:sldMk cId="3643481744" sldId="1688"/>
        </pc:sldMkLst>
        <pc:spChg chg="mod">
          <ac:chgData name="Philip Wenzel" userId="6acc32ce-9657-429b-a204-ad039ae9e71f" providerId="ADAL" clId="{CE9D8472-DA3B-4ED0-9480-B7547E8BB1FD}" dt="2024-05-23T10:13:46.871" v="1001" actId="20577"/>
          <ac:spMkLst>
            <pc:docMk/>
            <pc:sldMk cId="3643481744" sldId="1688"/>
            <ac:spMk id="4" creationId="{0FFCCF2D-EE8E-887B-C4E8-96CE6DBBBD93}"/>
          </ac:spMkLst>
        </pc:spChg>
      </pc:sldChg>
      <pc:sldChg chg="addSp delSp modSp mod">
        <pc:chgData name="Philip Wenzel" userId="6acc32ce-9657-429b-a204-ad039ae9e71f" providerId="ADAL" clId="{CE9D8472-DA3B-4ED0-9480-B7547E8BB1FD}" dt="2024-04-09T14:17:39.479" v="2" actId="962"/>
        <pc:sldMkLst>
          <pc:docMk/>
          <pc:sldMk cId="266976824" sldId="1689"/>
        </pc:sldMkLst>
        <pc:spChg chg="del">
          <ac:chgData name="Philip Wenzel" userId="6acc32ce-9657-429b-a204-ad039ae9e71f" providerId="ADAL" clId="{CE9D8472-DA3B-4ED0-9480-B7547E8BB1FD}" dt="2024-04-09T14:17:36.477" v="0" actId="931"/>
          <ac:spMkLst>
            <pc:docMk/>
            <pc:sldMk cId="266976824" sldId="1689"/>
            <ac:spMk id="4" creationId="{18F215D6-923A-6459-3763-90FC00C28EF7}"/>
          </ac:spMkLst>
        </pc:spChg>
        <pc:picChg chg="add mod">
          <ac:chgData name="Philip Wenzel" userId="6acc32ce-9657-429b-a204-ad039ae9e71f" providerId="ADAL" clId="{CE9D8472-DA3B-4ED0-9480-B7547E8BB1FD}" dt="2024-04-09T14:17:39.479" v="2" actId="962"/>
          <ac:picMkLst>
            <pc:docMk/>
            <pc:sldMk cId="266976824" sldId="1689"/>
            <ac:picMk id="6" creationId="{9D98D158-766C-8CDC-6569-FD1AFD8701C1}"/>
          </ac:picMkLst>
        </pc:picChg>
      </pc:sldChg>
      <pc:sldChg chg="modSp mod">
        <pc:chgData name="Philip Wenzel" userId="6acc32ce-9657-429b-a204-ad039ae9e71f" providerId="ADAL" clId="{CE9D8472-DA3B-4ED0-9480-B7547E8BB1FD}" dt="2024-04-26T09:39:27.630" v="373" actId="208"/>
        <pc:sldMkLst>
          <pc:docMk/>
          <pc:sldMk cId="1049981512" sldId="1690"/>
        </pc:sldMkLst>
        <pc:spChg chg="mod">
          <ac:chgData name="Philip Wenzel" userId="6acc32ce-9657-429b-a204-ad039ae9e71f" providerId="ADAL" clId="{CE9D8472-DA3B-4ED0-9480-B7547E8BB1FD}" dt="2024-04-26T09:39:27.630" v="373" actId="208"/>
          <ac:spMkLst>
            <pc:docMk/>
            <pc:sldMk cId="1049981512" sldId="1690"/>
            <ac:spMk id="12" creationId="{2E3458C8-27B7-DAE3-9662-D75B3BEE395A}"/>
          </ac:spMkLst>
        </pc:spChg>
        <pc:spChg chg="mod">
          <ac:chgData name="Philip Wenzel" userId="6acc32ce-9657-429b-a204-ad039ae9e71f" providerId="ADAL" clId="{CE9D8472-DA3B-4ED0-9480-B7547E8BB1FD}" dt="2024-04-26T09:39:27.630" v="373" actId="208"/>
          <ac:spMkLst>
            <pc:docMk/>
            <pc:sldMk cId="1049981512" sldId="1690"/>
            <ac:spMk id="13" creationId="{D8B34C6A-60AD-1CA9-58C1-8030C12C9B55}"/>
          </ac:spMkLst>
        </pc:spChg>
        <pc:spChg chg="mod">
          <ac:chgData name="Philip Wenzel" userId="6acc32ce-9657-429b-a204-ad039ae9e71f" providerId="ADAL" clId="{CE9D8472-DA3B-4ED0-9480-B7547E8BB1FD}" dt="2024-04-26T09:39:27.630" v="373" actId="208"/>
          <ac:spMkLst>
            <pc:docMk/>
            <pc:sldMk cId="1049981512" sldId="1690"/>
            <ac:spMk id="14" creationId="{B7FD3F5A-17F7-9F5C-EBCD-D89C0268E160}"/>
          </ac:spMkLst>
        </pc:spChg>
        <pc:spChg chg="mod">
          <ac:chgData name="Philip Wenzel" userId="6acc32ce-9657-429b-a204-ad039ae9e71f" providerId="ADAL" clId="{CE9D8472-DA3B-4ED0-9480-B7547E8BB1FD}" dt="2024-04-26T09:39:27.630" v="373" actId="208"/>
          <ac:spMkLst>
            <pc:docMk/>
            <pc:sldMk cId="1049981512" sldId="1690"/>
            <ac:spMk id="15" creationId="{48D1E6F8-376A-BEF1-426B-BA1E3E88D5A8}"/>
          </ac:spMkLst>
        </pc:spChg>
        <pc:spChg chg="mod">
          <ac:chgData name="Philip Wenzel" userId="6acc32ce-9657-429b-a204-ad039ae9e71f" providerId="ADAL" clId="{CE9D8472-DA3B-4ED0-9480-B7547E8BB1FD}" dt="2024-04-26T09:39:27.630" v="373" actId="208"/>
          <ac:spMkLst>
            <pc:docMk/>
            <pc:sldMk cId="1049981512" sldId="1690"/>
            <ac:spMk id="16" creationId="{0B0ED34F-739B-17A8-9842-B51E4FB2E199}"/>
          </ac:spMkLst>
        </pc:spChg>
      </pc:sldChg>
      <pc:sldChg chg="modSp mod">
        <pc:chgData name="Philip Wenzel" userId="6acc32ce-9657-429b-a204-ad039ae9e71f" providerId="ADAL" clId="{CE9D8472-DA3B-4ED0-9480-B7547E8BB1FD}" dt="2024-05-23T10:12:37.864" v="1000" actId="14100"/>
        <pc:sldMkLst>
          <pc:docMk/>
          <pc:sldMk cId="3352227928" sldId="1691"/>
        </pc:sldMkLst>
        <pc:spChg chg="mod">
          <ac:chgData name="Philip Wenzel" userId="6acc32ce-9657-429b-a204-ad039ae9e71f" providerId="ADAL" clId="{CE9D8472-DA3B-4ED0-9480-B7547E8BB1FD}" dt="2024-05-23T10:12:37.864" v="1000" actId="14100"/>
          <ac:spMkLst>
            <pc:docMk/>
            <pc:sldMk cId="3352227928" sldId="1691"/>
            <ac:spMk id="3" creationId="{7E6EC743-297E-7167-0C43-7B9CB54A1129}"/>
          </ac:spMkLst>
        </pc:spChg>
      </pc:sldChg>
      <pc:sldChg chg="modSp mod">
        <pc:chgData name="Philip Wenzel" userId="6acc32ce-9657-429b-a204-ad039ae9e71f" providerId="ADAL" clId="{CE9D8472-DA3B-4ED0-9480-B7547E8BB1FD}" dt="2024-04-26T09:39:35.394" v="374" actId="208"/>
        <pc:sldMkLst>
          <pc:docMk/>
          <pc:sldMk cId="3004957" sldId="1692"/>
        </pc:sldMkLst>
        <pc:spChg chg="mod">
          <ac:chgData name="Philip Wenzel" userId="6acc32ce-9657-429b-a204-ad039ae9e71f" providerId="ADAL" clId="{CE9D8472-DA3B-4ED0-9480-B7547E8BB1FD}" dt="2024-04-26T09:39:35.394" v="374" actId="208"/>
          <ac:spMkLst>
            <pc:docMk/>
            <pc:sldMk cId="3004957" sldId="1692"/>
            <ac:spMk id="4" creationId="{F04422CE-407A-19C2-E1FE-3905795D1032}"/>
          </ac:spMkLst>
        </pc:spChg>
        <pc:spChg chg="mod">
          <ac:chgData name="Philip Wenzel" userId="6acc32ce-9657-429b-a204-ad039ae9e71f" providerId="ADAL" clId="{CE9D8472-DA3B-4ED0-9480-B7547E8BB1FD}" dt="2024-04-26T09:39:35.394" v="374" actId="208"/>
          <ac:spMkLst>
            <pc:docMk/>
            <pc:sldMk cId="3004957" sldId="1692"/>
            <ac:spMk id="6" creationId="{3F387960-AFE2-4ACD-B2C4-F6B6A818564E}"/>
          </ac:spMkLst>
        </pc:spChg>
      </pc:sldChg>
      <pc:sldChg chg="addSp delSp modSp mod modClrScheme chgLayout">
        <pc:chgData name="Philip Wenzel" userId="6acc32ce-9657-429b-a204-ad039ae9e71f" providerId="ADAL" clId="{CE9D8472-DA3B-4ED0-9480-B7547E8BB1FD}" dt="2024-05-15T11:12:26.275" v="966" actId="27614"/>
        <pc:sldMkLst>
          <pc:docMk/>
          <pc:sldMk cId="1735053113" sldId="1693"/>
        </pc:sldMkLst>
        <pc:spChg chg="mod ord">
          <ac:chgData name="Philip Wenzel" userId="6acc32ce-9657-429b-a204-ad039ae9e71f" providerId="ADAL" clId="{CE9D8472-DA3B-4ED0-9480-B7547E8BB1FD}" dt="2024-05-03T09:30:21.664" v="399" actId="700"/>
          <ac:spMkLst>
            <pc:docMk/>
            <pc:sldMk cId="1735053113" sldId="1693"/>
            <ac:spMk id="2" creationId="{4249AB66-CBBB-43EF-9ADD-D056233717BF}"/>
          </ac:spMkLst>
        </pc:spChg>
        <pc:spChg chg="mod">
          <ac:chgData name="Philip Wenzel" userId="6acc32ce-9657-429b-a204-ad039ae9e71f" providerId="ADAL" clId="{CE9D8472-DA3B-4ED0-9480-B7547E8BB1FD}" dt="2024-05-03T09:30:16.410" v="398" actId="14100"/>
          <ac:spMkLst>
            <pc:docMk/>
            <pc:sldMk cId="1735053113" sldId="1693"/>
            <ac:spMk id="3" creationId="{7E6EC743-297E-7167-0C43-7B9CB54A1129}"/>
          </ac:spMkLst>
        </pc:spChg>
        <pc:spChg chg="add mod ord">
          <ac:chgData name="Philip Wenzel" userId="6acc32ce-9657-429b-a204-ad039ae9e71f" providerId="ADAL" clId="{CE9D8472-DA3B-4ED0-9480-B7547E8BB1FD}" dt="2024-05-03T09:30:43.918" v="402" actId="20577"/>
          <ac:spMkLst>
            <pc:docMk/>
            <pc:sldMk cId="1735053113" sldId="1693"/>
            <ac:spMk id="4" creationId="{F67EAC0A-E9D1-BB17-4615-821204ED5250}"/>
          </ac:spMkLst>
        </pc:spChg>
        <pc:spChg chg="add del mod ord">
          <ac:chgData name="Philip Wenzel" userId="6acc32ce-9657-429b-a204-ad039ae9e71f" providerId="ADAL" clId="{CE9D8472-DA3B-4ED0-9480-B7547E8BB1FD}" dt="2024-05-15T11:12:19.263" v="965"/>
          <ac:spMkLst>
            <pc:docMk/>
            <pc:sldMk cId="1735053113" sldId="1693"/>
            <ac:spMk id="6" creationId="{E28306E4-5883-C218-7D85-FBA841CCEFEC}"/>
          </ac:spMkLst>
        </pc:spChg>
        <pc:spChg chg="add del mod">
          <ac:chgData name="Philip Wenzel" userId="6acc32ce-9657-429b-a204-ad039ae9e71f" providerId="ADAL" clId="{CE9D8472-DA3B-4ED0-9480-B7547E8BB1FD}" dt="2024-05-03T09:30:52.900" v="404" actId="478"/>
          <ac:spMkLst>
            <pc:docMk/>
            <pc:sldMk cId="1735053113" sldId="1693"/>
            <ac:spMk id="8" creationId="{BD7B45D8-7D14-9B4B-2D10-F592D8DCDB39}"/>
          </ac:spMkLst>
        </pc:spChg>
        <pc:spChg chg="del mod ord">
          <ac:chgData name="Philip Wenzel" userId="6acc32ce-9657-429b-a204-ad039ae9e71f" providerId="ADAL" clId="{CE9D8472-DA3B-4ED0-9480-B7547E8BB1FD}" dt="2024-05-03T09:30:50.046" v="403" actId="478"/>
          <ac:spMkLst>
            <pc:docMk/>
            <pc:sldMk cId="1735053113" sldId="1693"/>
            <ac:spMk id="10" creationId="{CE4BC898-CC4E-43C8-8CEF-A9740B265FF4}"/>
          </ac:spMkLst>
        </pc:spChg>
        <pc:picChg chg="add mod">
          <ac:chgData name="Philip Wenzel" userId="6acc32ce-9657-429b-a204-ad039ae9e71f" providerId="ADAL" clId="{CE9D8472-DA3B-4ED0-9480-B7547E8BB1FD}" dt="2024-05-15T11:12:26.275" v="966" actId="27614"/>
          <ac:picMkLst>
            <pc:docMk/>
            <pc:sldMk cId="1735053113" sldId="1693"/>
            <ac:picMk id="8" creationId="{302F3D6A-FC3F-8FED-F216-6592487CF557}"/>
          </ac:picMkLst>
        </pc:picChg>
      </pc:sldChg>
      <pc:sldChg chg="addSp delSp modSp add del mod">
        <pc:chgData name="Philip Wenzel" userId="6acc32ce-9657-429b-a204-ad039ae9e71f" providerId="ADAL" clId="{CE9D8472-DA3B-4ED0-9480-B7547E8BB1FD}" dt="2024-05-06T06:13:32.840" v="911" actId="27614"/>
        <pc:sldMkLst>
          <pc:docMk/>
          <pc:sldMk cId="249840864" sldId="1694"/>
        </pc:sldMkLst>
        <pc:spChg chg="add del mod">
          <ac:chgData name="Philip Wenzel" userId="6acc32ce-9657-429b-a204-ad039ae9e71f" providerId="ADAL" clId="{CE9D8472-DA3B-4ED0-9480-B7547E8BB1FD}" dt="2024-05-06T06:13:29.094" v="910"/>
          <ac:spMkLst>
            <pc:docMk/>
            <pc:sldMk cId="249840864" sldId="1694"/>
            <ac:spMk id="4" creationId="{2AC97527-A4D6-C6A1-E8EB-7E3BF8BCD64F}"/>
          </ac:spMkLst>
        </pc:spChg>
        <pc:spChg chg="del">
          <ac:chgData name="Philip Wenzel" userId="6acc32ce-9657-429b-a204-ad039ae9e71f" providerId="ADAL" clId="{CE9D8472-DA3B-4ED0-9480-B7547E8BB1FD}" dt="2024-04-09T14:18:31.172" v="3" actId="931"/>
          <ac:spMkLst>
            <pc:docMk/>
            <pc:sldMk cId="249840864" sldId="1694"/>
            <ac:spMk id="4" creationId="{5B704F94-BCE4-0CB8-C289-35C09386B54E}"/>
          </ac:spMkLst>
        </pc:spChg>
        <pc:picChg chg="add del mod">
          <ac:chgData name="Philip Wenzel" userId="6acc32ce-9657-429b-a204-ad039ae9e71f" providerId="ADAL" clId="{CE9D8472-DA3B-4ED0-9480-B7547E8BB1FD}" dt="2024-05-06T06:13:21.781" v="909" actId="478"/>
          <ac:picMkLst>
            <pc:docMk/>
            <pc:sldMk cId="249840864" sldId="1694"/>
            <ac:picMk id="6" creationId="{1173A587-1590-8ED7-D249-5943E3531854}"/>
          </ac:picMkLst>
        </pc:picChg>
        <pc:picChg chg="add mod">
          <ac:chgData name="Philip Wenzel" userId="6acc32ce-9657-429b-a204-ad039ae9e71f" providerId="ADAL" clId="{CE9D8472-DA3B-4ED0-9480-B7547E8BB1FD}" dt="2024-05-06T06:13:32.840" v="911" actId="27614"/>
          <ac:picMkLst>
            <pc:docMk/>
            <pc:sldMk cId="249840864" sldId="1694"/>
            <ac:picMk id="8" creationId="{14C791DB-4C09-F242-58FC-BEACA08CEC5E}"/>
          </ac:picMkLst>
        </pc:picChg>
      </pc:sldChg>
      <pc:sldChg chg="modSp mod">
        <pc:chgData name="Philip Wenzel" userId="6acc32ce-9657-429b-a204-ad039ae9e71f" providerId="ADAL" clId="{CE9D8472-DA3B-4ED0-9480-B7547E8BB1FD}" dt="2024-05-23T10:08:29.623" v="992" actId="20577"/>
        <pc:sldMkLst>
          <pc:docMk/>
          <pc:sldMk cId="2890983792" sldId="1695"/>
        </pc:sldMkLst>
        <pc:spChg chg="mod">
          <ac:chgData name="Philip Wenzel" userId="6acc32ce-9657-429b-a204-ad039ae9e71f" providerId="ADAL" clId="{CE9D8472-DA3B-4ED0-9480-B7547E8BB1FD}" dt="2024-05-23T10:08:29.623" v="992" actId="20577"/>
          <ac:spMkLst>
            <pc:docMk/>
            <pc:sldMk cId="2890983792" sldId="1695"/>
            <ac:spMk id="2" creationId="{4249AB66-CBBB-43EF-9ADD-D056233717BF}"/>
          </ac:spMkLst>
        </pc:spChg>
      </pc:sldChg>
      <pc:sldChg chg="modSp mod">
        <pc:chgData name="Philip Wenzel" userId="6acc32ce-9657-429b-a204-ad039ae9e71f" providerId="ADAL" clId="{CE9D8472-DA3B-4ED0-9480-B7547E8BB1FD}" dt="2024-05-23T10:08:33.153" v="994" actId="20577"/>
        <pc:sldMkLst>
          <pc:docMk/>
          <pc:sldMk cId="3258294644" sldId="1696"/>
        </pc:sldMkLst>
        <pc:spChg chg="mod">
          <ac:chgData name="Philip Wenzel" userId="6acc32ce-9657-429b-a204-ad039ae9e71f" providerId="ADAL" clId="{CE9D8472-DA3B-4ED0-9480-B7547E8BB1FD}" dt="2024-05-23T10:08:33.153" v="994" actId="20577"/>
          <ac:spMkLst>
            <pc:docMk/>
            <pc:sldMk cId="3258294644" sldId="1696"/>
            <ac:spMk id="2" creationId="{4249AB66-CBBB-43EF-9ADD-D056233717BF}"/>
          </ac:spMkLst>
        </pc:spChg>
      </pc:sldChg>
      <pc:sldChg chg="modSp mod">
        <pc:chgData name="Philip Wenzel" userId="6acc32ce-9657-429b-a204-ad039ae9e71f" providerId="ADAL" clId="{CE9D8472-DA3B-4ED0-9480-B7547E8BB1FD}" dt="2024-05-23T10:08:38.826" v="998" actId="20577"/>
        <pc:sldMkLst>
          <pc:docMk/>
          <pc:sldMk cId="449275071" sldId="1697"/>
        </pc:sldMkLst>
        <pc:spChg chg="mod">
          <ac:chgData name="Philip Wenzel" userId="6acc32ce-9657-429b-a204-ad039ae9e71f" providerId="ADAL" clId="{CE9D8472-DA3B-4ED0-9480-B7547E8BB1FD}" dt="2024-05-23T10:08:38.826" v="998" actId="20577"/>
          <ac:spMkLst>
            <pc:docMk/>
            <pc:sldMk cId="449275071" sldId="1697"/>
            <ac:spMk id="2" creationId="{4249AB66-CBBB-43EF-9ADD-D056233717BF}"/>
          </ac:spMkLst>
        </pc:spChg>
      </pc:sldChg>
      <pc:sldChg chg="modSp mod">
        <pc:chgData name="Philip Wenzel" userId="6acc32ce-9657-429b-a204-ad039ae9e71f" providerId="ADAL" clId="{CE9D8472-DA3B-4ED0-9480-B7547E8BB1FD}" dt="2024-04-26T09:39:55.914" v="377" actId="207"/>
        <pc:sldMkLst>
          <pc:docMk/>
          <pc:sldMk cId="4031857166" sldId="1698"/>
        </pc:sldMkLst>
        <pc:graphicFrameChg chg="modGraphic">
          <ac:chgData name="Philip Wenzel" userId="6acc32ce-9657-429b-a204-ad039ae9e71f" providerId="ADAL" clId="{CE9D8472-DA3B-4ED0-9480-B7547E8BB1FD}" dt="2024-04-26T09:39:55.914" v="377" actId="207"/>
          <ac:graphicFrameMkLst>
            <pc:docMk/>
            <pc:sldMk cId="4031857166" sldId="1698"/>
            <ac:graphicFrameMk id="4" creationId="{14C9FAAC-DFCE-2875-A1D4-9BC012D5CDFA}"/>
          </ac:graphicFrameMkLst>
        </pc:graphicFrameChg>
      </pc:sldChg>
      <pc:sldChg chg="modSp add mod ord">
        <pc:chgData name="Philip Wenzel" userId="6acc32ce-9657-429b-a204-ad039ae9e71f" providerId="ADAL" clId="{CE9D8472-DA3B-4ED0-9480-B7547E8BB1FD}" dt="2024-04-09T15:07:52.270" v="314" actId="14826"/>
        <pc:sldMkLst>
          <pc:docMk/>
          <pc:sldMk cId="1280391148" sldId="1699"/>
        </pc:sldMkLst>
        <pc:spChg chg="mod">
          <ac:chgData name="Philip Wenzel" userId="6acc32ce-9657-429b-a204-ad039ae9e71f" providerId="ADAL" clId="{CE9D8472-DA3B-4ED0-9480-B7547E8BB1FD}" dt="2024-04-09T14:23:03.273" v="35" actId="20577"/>
          <ac:spMkLst>
            <pc:docMk/>
            <pc:sldMk cId="1280391148" sldId="1699"/>
            <ac:spMk id="3" creationId="{87A20A7B-A25F-31C1-C9CB-8F4DB4F8099A}"/>
          </ac:spMkLst>
        </pc:spChg>
        <pc:picChg chg="mod">
          <ac:chgData name="Philip Wenzel" userId="6acc32ce-9657-429b-a204-ad039ae9e71f" providerId="ADAL" clId="{CE9D8472-DA3B-4ED0-9480-B7547E8BB1FD}" dt="2024-04-09T15:07:52.270" v="314" actId="14826"/>
          <ac:picMkLst>
            <pc:docMk/>
            <pc:sldMk cId="1280391148" sldId="1699"/>
            <ac:picMk id="6" creationId="{1173A587-1590-8ED7-D249-5943E3531854}"/>
          </ac:picMkLst>
        </pc:picChg>
      </pc:sldChg>
      <pc:sldChg chg="addSp delSp modSp add mod modClrScheme modAnim chgLayout">
        <pc:chgData name="Philip Wenzel" userId="6acc32ce-9657-429b-a204-ad039ae9e71f" providerId="ADAL" clId="{CE9D8472-DA3B-4ED0-9480-B7547E8BB1FD}" dt="2024-05-06T06:16:46.295" v="960" actId="962"/>
        <pc:sldMkLst>
          <pc:docMk/>
          <pc:sldMk cId="2038731542" sldId="1700"/>
        </pc:sldMkLst>
        <pc:spChg chg="mod ord">
          <ac:chgData name="Philip Wenzel" userId="6acc32ce-9657-429b-a204-ad039ae9e71f" providerId="ADAL" clId="{CE9D8472-DA3B-4ED0-9480-B7547E8BB1FD}" dt="2024-05-06T06:15:58.117" v="953" actId="700"/>
          <ac:spMkLst>
            <pc:docMk/>
            <pc:sldMk cId="2038731542" sldId="1700"/>
            <ac:spMk id="2" creationId="{4249AB66-CBBB-43EF-9ADD-D056233717BF}"/>
          </ac:spMkLst>
        </pc:spChg>
        <pc:spChg chg="mod">
          <ac:chgData name="Philip Wenzel" userId="6acc32ce-9657-429b-a204-ad039ae9e71f" providerId="ADAL" clId="{CE9D8472-DA3B-4ED0-9480-B7547E8BB1FD}" dt="2024-05-06T06:16:32.944" v="957" actId="14100"/>
          <ac:spMkLst>
            <pc:docMk/>
            <pc:sldMk cId="2038731542" sldId="1700"/>
            <ac:spMk id="3" creationId="{DF4EFF8A-432F-EE7B-9094-9DB92A4FC2EF}"/>
          </ac:spMkLst>
        </pc:spChg>
        <pc:spChg chg="add del mod ord">
          <ac:chgData name="Philip Wenzel" userId="6acc32ce-9657-429b-a204-ad039ae9e71f" providerId="ADAL" clId="{CE9D8472-DA3B-4ED0-9480-B7547E8BB1FD}" dt="2024-05-06T06:16:03.989" v="954" actId="478"/>
          <ac:spMkLst>
            <pc:docMk/>
            <pc:sldMk cId="2038731542" sldId="1700"/>
            <ac:spMk id="4" creationId="{D65C969B-AD70-8B2F-EE44-646AF53B314D}"/>
          </ac:spMkLst>
        </pc:spChg>
        <pc:spChg chg="add mod ord">
          <ac:chgData name="Philip Wenzel" userId="6acc32ce-9657-429b-a204-ad039ae9e71f" providerId="ADAL" clId="{CE9D8472-DA3B-4ED0-9480-B7547E8BB1FD}" dt="2024-05-06T06:16:05.959" v="955"/>
          <ac:spMkLst>
            <pc:docMk/>
            <pc:sldMk cId="2038731542" sldId="1700"/>
            <ac:spMk id="6" creationId="{F7A33FFB-75C4-C184-F64A-EEAF149C6018}"/>
          </ac:spMkLst>
        </pc:spChg>
        <pc:spChg chg="add del mod ord">
          <ac:chgData name="Philip Wenzel" userId="6acc32ce-9657-429b-a204-ad039ae9e71f" providerId="ADAL" clId="{CE9D8472-DA3B-4ED0-9480-B7547E8BB1FD}" dt="2024-05-06T06:16:39.042" v="958"/>
          <ac:spMkLst>
            <pc:docMk/>
            <pc:sldMk cId="2038731542" sldId="1700"/>
            <ac:spMk id="7" creationId="{AD4A4CB8-160C-0D22-AE9C-ED55D34E4870}"/>
          </ac:spMkLst>
        </pc:spChg>
        <pc:spChg chg="del mod ord">
          <ac:chgData name="Philip Wenzel" userId="6acc32ce-9657-429b-a204-ad039ae9e71f" providerId="ADAL" clId="{CE9D8472-DA3B-4ED0-9480-B7547E8BB1FD}" dt="2024-05-06T06:15:58.117" v="953" actId="700"/>
          <ac:spMkLst>
            <pc:docMk/>
            <pc:sldMk cId="2038731542" sldId="1700"/>
            <ac:spMk id="10" creationId="{CE4BC898-CC4E-43C8-8CEF-A9740B265FF4}"/>
          </ac:spMkLst>
        </pc:spChg>
        <pc:picChg chg="add mod">
          <ac:chgData name="Philip Wenzel" userId="6acc32ce-9657-429b-a204-ad039ae9e71f" providerId="ADAL" clId="{CE9D8472-DA3B-4ED0-9480-B7547E8BB1FD}" dt="2024-05-06T06:16:46.295" v="960" actId="962"/>
          <ac:picMkLst>
            <pc:docMk/>
            <pc:sldMk cId="2038731542" sldId="1700"/>
            <ac:picMk id="9" creationId="{2C91566E-6B8E-80C9-AA56-744EB17E41B7}"/>
          </ac:picMkLst>
        </pc:picChg>
      </pc:sldChg>
      <pc:sldChg chg="addSp modSp add del mod modAnim">
        <pc:chgData name="Philip Wenzel" userId="6acc32ce-9657-429b-a204-ad039ae9e71f" providerId="ADAL" clId="{CE9D8472-DA3B-4ED0-9480-B7547E8BB1FD}" dt="2024-05-03T09:36:45.462" v="566" actId="47"/>
        <pc:sldMkLst>
          <pc:docMk/>
          <pc:sldMk cId="1286308785" sldId="1701"/>
        </pc:sldMkLst>
        <pc:spChg chg="mod">
          <ac:chgData name="Philip Wenzel" userId="6acc32ce-9657-429b-a204-ad039ae9e71f" providerId="ADAL" clId="{CE9D8472-DA3B-4ED0-9480-B7547E8BB1FD}" dt="2024-04-09T14:54:53.075" v="182" actId="20577"/>
          <ac:spMkLst>
            <pc:docMk/>
            <pc:sldMk cId="1286308785" sldId="1701"/>
            <ac:spMk id="2" creationId="{4249AB66-CBBB-43EF-9ADD-D056233717BF}"/>
          </ac:spMkLst>
        </pc:spChg>
        <pc:spChg chg="mod">
          <ac:chgData name="Philip Wenzel" userId="6acc32ce-9657-429b-a204-ad039ae9e71f" providerId="ADAL" clId="{CE9D8472-DA3B-4ED0-9480-B7547E8BB1FD}" dt="2024-04-09T14:55:01.621" v="184" actId="5793"/>
          <ac:spMkLst>
            <pc:docMk/>
            <pc:sldMk cId="1286308785" sldId="1701"/>
            <ac:spMk id="3" creationId="{DF4EFF8A-432F-EE7B-9094-9DB92A4FC2EF}"/>
          </ac:spMkLst>
        </pc:spChg>
        <pc:picChg chg="add mod">
          <ac:chgData name="Philip Wenzel" userId="6acc32ce-9657-429b-a204-ad039ae9e71f" providerId="ADAL" clId="{CE9D8472-DA3B-4ED0-9480-B7547E8BB1FD}" dt="2024-04-09T14:55:22.125" v="186" actId="1076"/>
          <ac:picMkLst>
            <pc:docMk/>
            <pc:sldMk cId="1286308785" sldId="1701"/>
            <ac:picMk id="4" creationId="{93807B2F-78AA-D407-B251-BE5249FCA6AE}"/>
          </ac:picMkLst>
        </pc:picChg>
        <pc:picChg chg="add mod">
          <ac:chgData name="Philip Wenzel" userId="6acc32ce-9657-429b-a204-ad039ae9e71f" providerId="ADAL" clId="{CE9D8472-DA3B-4ED0-9480-B7547E8BB1FD}" dt="2024-04-09T14:55:22.125" v="186" actId="1076"/>
          <ac:picMkLst>
            <pc:docMk/>
            <pc:sldMk cId="1286308785" sldId="1701"/>
            <ac:picMk id="6" creationId="{AA6BA270-5D3B-EF3F-CEA1-D413FE7F977A}"/>
          </ac:picMkLst>
        </pc:picChg>
      </pc:sldChg>
      <pc:sldChg chg="addSp delSp modSp add mod ord modClrScheme modAnim chgLayout">
        <pc:chgData name="Philip Wenzel" userId="6acc32ce-9657-429b-a204-ad039ae9e71f" providerId="ADAL" clId="{CE9D8472-DA3B-4ED0-9480-B7547E8BB1FD}" dt="2024-05-03T09:36:26.541" v="565" actId="14100"/>
        <pc:sldMkLst>
          <pc:docMk/>
          <pc:sldMk cId="3297044565" sldId="1702"/>
        </pc:sldMkLst>
        <pc:spChg chg="mod ord">
          <ac:chgData name="Philip Wenzel" userId="6acc32ce-9657-429b-a204-ad039ae9e71f" providerId="ADAL" clId="{CE9D8472-DA3B-4ED0-9480-B7547E8BB1FD}" dt="2024-05-03T09:35:22.535" v="533" actId="700"/>
          <ac:spMkLst>
            <pc:docMk/>
            <pc:sldMk cId="3297044565" sldId="1702"/>
            <ac:spMk id="2" creationId="{4249AB66-CBBB-43EF-9ADD-D056233717BF}"/>
          </ac:spMkLst>
        </pc:spChg>
        <pc:spChg chg="mod">
          <ac:chgData name="Philip Wenzel" userId="6acc32ce-9657-429b-a204-ad039ae9e71f" providerId="ADAL" clId="{CE9D8472-DA3B-4ED0-9480-B7547E8BB1FD}" dt="2024-05-03T09:35:30.105" v="534" actId="14100"/>
          <ac:spMkLst>
            <pc:docMk/>
            <pc:sldMk cId="3297044565" sldId="1702"/>
            <ac:spMk id="3" creationId="{DF4EFF8A-432F-EE7B-9094-9DB92A4FC2EF}"/>
          </ac:spMkLst>
        </pc:spChg>
        <pc:spChg chg="add mod ord">
          <ac:chgData name="Philip Wenzel" userId="6acc32ce-9657-429b-a204-ad039ae9e71f" providerId="ADAL" clId="{CE9D8472-DA3B-4ED0-9480-B7547E8BB1FD}" dt="2024-05-03T09:35:46.229" v="560" actId="20577"/>
          <ac:spMkLst>
            <pc:docMk/>
            <pc:sldMk cId="3297044565" sldId="1702"/>
            <ac:spMk id="4" creationId="{CE3D91CF-A8B0-3207-3601-4ADFEDC3FB8D}"/>
          </ac:spMkLst>
        </pc:spChg>
        <pc:spChg chg="add del mod ord">
          <ac:chgData name="Philip Wenzel" userId="6acc32ce-9657-429b-a204-ad039ae9e71f" providerId="ADAL" clId="{CE9D8472-DA3B-4ED0-9480-B7547E8BB1FD}" dt="2024-05-03T09:35:55.563" v="561"/>
          <ac:spMkLst>
            <pc:docMk/>
            <pc:sldMk cId="3297044565" sldId="1702"/>
            <ac:spMk id="6" creationId="{88B29E53-7219-97E7-85FB-98FCBD64AD43}"/>
          </ac:spMkLst>
        </pc:spChg>
        <pc:spChg chg="add del mod">
          <ac:chgData name="Philip Wenzel" userId="6acc32ce-9657-429b-a204-ad039ae9e71f" providerId="ADAL" clId="{CE9D8472-DA3B-4ED0-9480-B7547E8BB1FD}" dt="2024-05-03T09:35:38.637" v="536" actId="478"/>
          <ac:spMkLst>
            <pc:docMk/>
            <pc:sldMk cId="3297044565" sldId="1702"/>
            <ac:spMk id="8" creationId="{7B82A1E5-0397-57ED-12A3-0246ABC10920}"/>
          </ac:spMkLst>
        </pc:spChg>
        <pc:spChg chg="del mod ord">
          <ac:chgData name="Philip Wenzel" userId="6acc32ce-9657-429b-a204-ad039ae9e71f" providerId="ADAL" clId="{CE9D8472-DA3B-4ED0-9480-B7547E8BB1FD}" dt="2024-05-03T09:35:35.703" v="535" actId="478"/>
          <ac:spMkLst>
            <pc:docMk/>
            <pc:sldMk cId="3297044565" sldId="1702"/>
            <ac:spMk id="10" creationId="{CE4BC898-CC4E-43C8-8CEF-A9740B265FF4}"/>
          </ac:spMkLst>
        </pc:spChg>
        <pc:picChg chg="add mod modCrop">
          <ac:chgData name="Philip Wenzel" userId="6acc32ce-9657-429b-a204-ad039ae9e71f" providerId="ADAL" clId="{CE9D8472-DA3B-4ED0-9480-B7547E8BB1FD}" dt="2024-05-03T09:36:26.541" v="565" actId="14100"/>
          <ac:picMkLst>
            <pc:docMk/>
            <pc:sldMk cId="3297044565" sldId="1702"/>
            <ac:picMk id="9" creationId="{6953BEFA-4231-117D-BAF2-E282F24B3EB7}"/>
          </ac:picMkLst>
        </pc:picChg>
      </pc:sldChg>
      <pc:sldChg chg="addSp modSp add del mod modAnim">
        <pc:chgData name="Philip Wenzel" userId="6acc32ce-9657-429b-a204-ad039ae9e71f" providerId="ADAL" clId="{CE9D8472-DA3B-4ED0-9480-B7547E8BB1FD}" dt="2024-05-03T09:38:49.755" v="659" actId="47"/>
        <pc:sldMkLst>
          <pc:docMk/>
          <pc:sldMk cId="710197236" sldId="1703"/>
        </pc:sldMkLst>
        <pc:spChg chg="mod">
          <ac:chgData name="Philip Wenzel" userId="6acc32ce-9657-429b-a204-ad039ae9e71f" providerId="ADAL" clId="{CE9D8472-DA3B-4ED0-9480-B7547E8BB1FD}" dt="2024-04-09T14:58:35.012" v="258" actId="20577"/>
          <ac:spMkLst>
            <pc:docMk/>
            <pc:sldMk cId="710197236" sldId="1703"/>
            <ac:spMk id="2" creationId="{4249AB66-CBBB-43EF-9ADD-D056233717BF}"/>
          </ac:spMkLst>
        </pc:spChg>
        <pc:spChg chg="mod">
          <ac:chgData name="Philip Wenzel" userId="6acc32ce-9657-429b-a204-ad039ae9e71f" providerId="ADAL" clId="{CE9D8472-DA3B-4ED0-9480-B7547E8BB1FD}" dt="2024-04-09T14:57:19.570" v="251" actId="5793"/>
          <ac:spMkLst>
            <pc:docMk/>
            <pc:sldMk cId="710197236" sldId="1703"/>
            <ac:spMk id="3" creationId="{DF4EFF8A-432F-EE7B-9094-9DB92A4FC2EF}"/>
          </ac:spMkLst>
        </pc:spChg>
        <pc:spChg chg="add mod">
          <ac:chgData name="Philip Wenzel" userId="6acc32ce-9657-429b-a204-ad039ae9e71f" providerId="ADAL" clId="{CE9D8472-DA3B-4ED0-9480-B7547E8BB1FD}" dt="2024-04-26T09:40:16.906" v="378" actId="208"/>
          <ac:spMkLst>
            <pc:docMk/>
            <pc:sldMk cId="710197236" sldId="1703"/>
            <ac:spMk id="6" creationId="{E7C3AC7A-FFAB-C6D5-6514-5E19BD2A4A15}"/>
          </ac:spMkLst>
        </pc:spChg>
        <pc:picChg chg="add mod">
          <ac:chgData name="Philip Wenzel" userId="6acc32ce-9657-429b-a204-ad039ae9e71f" providerId="ADAL" clId="{CE9D8472-DA3B-4ED0-9480-B7547E8BB1FD}" dt="2024-04-09T14:57:30.702" v="253" actId="1076"/>
          <ac:picMkLst>
            <pc:docMk/>
            <pc:sldMk cId="710197236" sldId="1703"/>
            <ac:picMk id="4" creationId="{C12BE077-E2FE-1C58-6E56-A5D9EDC342F9}"/>
          </ac:picMkLst>
        </pc:picChg>
      </pc:sldChg>
      <pc:sldChg chg="addSp delSp modSp add mod ord modClrScheme modAnim chgLayout">
        <pc:chgData name="Philip Wenzel" userId="6acc32ce-9657-429b-a204-ad039ae9e71f" providerId="ADAL" clId="{CE9D8472-DA3B-4ED0-9480-B7547E8BB1FD}" dt="2024-05-23T10:16:10.779" v="1019"/>
        <pc:sldMkLst>
          <pc:docMk/>
          <pc:sldMk cId="3427014688" sldId="1704"/>
        </pc:sldMkLst>
        <pc:spChg chg="mod ord">
          <ac:chgData name="Philip Wenzel" userId="6acc32ce-9657-429b-a204-ad039ae9e71f" providerId="ADAL" clId="{CE9D8472-DA3B-4ED0-9480-B7547E8BB1FD}" dt="2024-05-03T09:37:49.159" v="621" actId="700"/>
          <ac:spMkLst>
            <pc:docMk/>
            <pc:sldMk cId="3427014688" sldId="1704"/>
            <ac:spMk id="2" creationId="{4249AB66-CBBB-43EF-9ADD-D056233717BF}"/>
          </ac:spMkLst>
        </pc:spChg>
        <pc:spChg chg="mod">
          <ac:chgData name="Philip Wenzel" userId="6acc32ce-9657-429b-a204-ad039ae9e71f" providerId="ADAL" clId="{CE9D8472-DA3B-4ED0-9480-B7547E8BB1FD}" dt="2024-05-03T09:37:43.618" v="620" actId="14100"/>
          <ac:spMkLst>
            <pc:docMk/>
            <pc:sldMk cId="3427014688" sldId="1704"/>
            <ac:spMk id="3" creationId="{DF4EFF8A-432F-EE7B-9094-9DB92A4FC2EF}"/>
          </ac:spMkLst>
        </pc:spChg>
        <pc:spChg chg="add mod ord">
          <ac:chgData name="Philip Wenzel" userId="6acc32ce-9657-429b-a204-ad039ae9e71f" providerId="ADAL" clId="{CE9D8472-DA3B-4ED0-9480-B7547E8BB1FD}" dt="2024-05-03T09:37:59.390" v="651" actId="20577"/>
          <ac:spMkLst>
            <pc:docMk/>
            <pc:sldMk cId="3427014688" sldId="1704"/>
            <ac:spMk id="4" creationId="{8DE0707F-1D93-CD64-45C4-22C76BB0C046}"/>
          </ac:spMkLst>
        </pc:spChg>
        <pc:spChg chg="add del mod ord">
          <ac:chgData name="Philip Wenzel" userId="6acc32ce-9657-429b-a204-ad039ae9e71f" providerId="ADAL" clId="{CE9D8472-DA3B-4ED0-9480-B7547E8BB1FD}" dt="2024-05-03T09:38:13.345" v="654"/>
          <ac:spMkLst>
            <pc:docMk/>
            <pc:sldMk cId="3427014688" sldId="1704"/>
            <ac:spMk id="6" creationId="{AAC3E69D-CC82-7149-FEDF-E7C4D369101F}"/>
          </ac:spMkLst>
        </pc:spChg>
        <pc:spChg chg="add del mod">
          <ac:chgData name="Philip Wenzel" userId="6acc32ce-9657-429b-a204-ad039ae9e71f" providerId="ADAL" clId="{CE9D8472-DA3B-4ED0-9480-B7547E8BB1FD}" dt="2024-05-03T09:38:06.006" v="653" actId="478"/>
          <ac:spMkLst>
            <pc:docMk/>
            <pc:sldMk cId="3427014688" sldId="1704"/>
            <ac:spMk id="8" creationId="{57652EDD-62E1-C7BC-E4FE-F9D265604AEF}"/>
          </ac:spMkLst>
        </pc:spChg>
        <pc:spChg chg="del mod ord">
          <ac:chgData name="Philip Wenzel" userId="6acc32ce-9657-429b-a204-ad039ae9e71f" providerId="ADAL" clId="{CE9D8472-DA3B-4ED0-9480-B7547E8BB1FD}" dt="2024-05-03T09:38:03.600" v="652" actId="478"/>
          <ac:spMkLst>
            <pc:docMk/>
            <pc:sldMk cId="3427014688" sldId="1704"/>
            <ac:spMk id="10" creationId="{CE4BC898-CC4E-43C8-8CEF-A9740B265FF4}"/>
          </ac:spMkLst>
        </pc:spChg>
        <pc:spChg chg="add mod">
          <ac:chgData name="Philip Wenzel" userId="6acc32ce-9657-429b-a204-ad039ae9e71f" providerId="ADAL" clId="{CE9D8472-DA3B-4ED0-9480-B7547E8BB1FD}" dt="2024-05-03T09:38:41.020" v="658" actId="1076"/>
          <ac:spMkLst>
            <pc:docMk/>
            <pc:sldMk cId="3427014688" sldId="1704"/>
            <ac:spMk id="11" creationId="{1B9A92FB-AB4B-EBED-71C0-2EDB71081895}"/>
          </ac:spMkLst>
        </pc:spChg>
        <pc:picChg chg="add mod modCrop">
          <ac:chgData name="Philip Wenzel" userId="6acc32ce-9657-429b-a204-ad039ae9e71f" providerId="ADAL" clId="{CE9D8472-DA3B-4ED0-9480-B7547E8BB1FD}" dt="2024-05-03T09:38:23.940" v="656" actId="18131"/>
          <ac:picMkLst>
            <pc:docMk/>
            <pc:sldMk cId="3427014688" sldId="1704"/>
            <ac:picMk id="9" creationId="{579E2334-FB5A-2EEE-7660-52473E677032}"/>
          </ac:picMkLst>
        </pc:picChg>
      </pc:sldChg>
      <pc:sldChg chg="addSp delSp modSp add del mod ord">
        <pc:chgData name="Philip Wenzel" userId="6acc32ce-9657-429b-a204-ad039ae9e71f" providerId="ADAL" clId="{CE9D8472-DA3B-4ED0-9480-B7547E8BB1FD}" dt="2024-05-03T09:41:49.378" v="760" actId="47"/>
        <pc:sldMkLst>
          <pc:docMk/>
          <pc:sldMk cId="67176381" sldId="1705"/>
        </pc:sldMkLst>
        <pc:spChg chg="mod">
          <ac:chgData name="Philip Wenzel" userId="6acc32ce-9657-429b-a204-ad039ae9e71f" providerId="ADAL" clId="{CE9D8472-DA3B-4ED0-9480-B7547E8BB1FD}" dt="2024-04-09T14:59:13.663" v="267" actId="20577"/>
          <ac:spMkLst>
            <pc:docMk/>
            <pc:sldMk cId="67176381" sldId="1705"/>
            <ac:spMk id="2" creationId="{4249AB66-CBBB-43EF-9ADD-D056233717BF}"/>
          </ac:spMkLst>
        </pc:spChg>
        <pc:spChg chg="del">
          <ac:chgData name="Philip Wenzel" userId="6acc32ce-9657-429b-a204-ad039ae9e71f" providerId="ADAL" clId="{CE9D8472-DA3B-4ED0-9480-B7547E8BB1FD}" dt="2024-04-09T14:58:55.709" v="262" actId="478"/>
          <ac:spMkLst>
            <pc:docMk/>
            <pc:sldMk cId="67176381" sldId="1705"/>
            <ac:spMk id="6" creationId="{E7C3AC7A-FFAB-C6D5-6514-5E19BD2A4A15}"/>
          </ac:spMkLst>
        </pc:spChg>
        <pc:spChg chg="add mod">
          <ac:chgData name="Philip Wenzel" userId="6acc32ce-9657-429b-a204-ad039ae9e71f" providerId="ADAL" clId="{CE9D8472-DA3B-4ED0-9480-B7547E8BB1FD}" dt="2024-04-26T09:40:21.378" v="379" actId="208"/>
          <ac:spMkLst>
            <pc:docMk/>
            <pc:sldMk cId="67176381" sldId="1705"/>
            <ac:spMk id="9" creationId="{47C0F12D-1DBD-ACC0-2095-1D407256E4AA}"/>
          </ac:spMkLst>
        </pc:spChg>
        <pc:picChg chg="del">
          <ac:chgData name="Philip Wenzel" userId="6acc32ce-9657-429b-a204-ad039ae9e71f" providerId="ADAL" clId="{CE9D8472-DA3B-4ED0-9480-B7547E8BB1FD}" dt="2024-04-09T14:58:55.709" v="262" actId="478"/>
          <ac:picMkLst>
            <pc:docMk/>
            <pc:sldMk cId="67176381" sldId="1705"/>
            <ac:picMk id="4" creationId="{C12BE077-E2FE-1C58-6E56-A5D9EDC342F9}"/>
          </ac:picMkLst>
        </pc:picChg>
        <pc:picChg chg="add mod">
          <ac:chgData name="Philip Wenzel" userId="6acc32ce-9657-429b-a204-ad039ae9e71f" providerId="ADAL" clId="{CE9D8472-DA3B-4ED0-9480-B7547E8BB1FD}" dt="2024-04-09T15:00:09.462" v="269" actId="1076"/>
          <ac:picMkLst>
            <pc:docMk/>
            <pc:sldMk cId="67176381" sldId="1705"/>
            <ac:picMk id="7" creationId="{D4856368-1AD8-6AB4-1BF7-9B5A25201B5E}"/>
          </ac:picMkLst>
        </pc:picChg>
        <pc:picChg chg="add mod">
          <ac:chgData name="Philip Wenzel" userId="6acc32ce-9657-429b-a204-ad039ae9e71f" providerId="ADAL" clId="{CE9D8472-DA3B-4ED0-9480-B7547E8BB1FD}" dt="2024-04-09T15:00:09.462" v="269" actId="1076"/>
          <ac:picMkLst>
            <pc:docMk/>
            <pc:sldMk cId="67176381" sldId="1705"/>
            <ac:picMk id="8" creationId="{9D899AFE-33B1-3AF0-0A07-C40F96C419AD}"/>
          </ac:picMkLst>
        </pc:picChg>
      </pc:sldChg>
      <pc:sldChg chg="addSp delSp modSp add mod ord modClrScheme modAnim chgLayout">
        <pc:chgData name="Philip Wenzel" userId="6acc32ce-9657-429b-a204-ad039ae9e71f" providerId="ADAL" clId="{CE9D8472-DA3B-4ED0-9480-B7547E8BB1FD}" dt="2024-05-23T10:16:19.863" v="1021"/>
        <pc:sldMkLst>
          <pc:docMk/>
          <pc:sldMk cId="1807580791" sldId="1706"/>
        </pc:sldMkLst>
        <pc:spChg chg="mod ord">
          <ac:chgData name="Philip Wenzel" userId="6acc32ce-9657-429b-a204-ad039ae9e71f" providerId="ADAL" clId="{CE9D8472-DA3B-4ED0-9480-B7547E8BB1FD}" dt="2024-05-03T09:40:23.256" v="749" actId="20577"/>
          <ac:spMkLst>
            <pc:docMk/>
            <pc:sldMk cId="1807580791" sldId="1706"/>
            <ac:spMk id="2" creationId="{4249AB66-CBBB-43EF-9ADD-D056233717BF}"/>
          </ac:spMkLst>
        </pc:spChg>
        <pc:spChg chg="mod">
          <ac:chgData name="Philip Wenzel" userId="6acc32ce-9657-429b-a204-ad039ae9e71f" providerId="ADAL" clId="{CE9D8472-DA3B-4ED0-9480-B7547E8BB1FD}" dt="2024-05-03T09:39:40.440" v="697" actId="20577"/>
          <ac:spMkLst>
            <pc:docMk/>
            <pc:sldMk cId="1807580791" sldId="1706"/>
            <ac:spMk id="3" creationId="{DF4EFF8A-432F-EE7B-9094-9DB92A4FC2EF}"/>
          </ac:spMkLst>
        </pc:spChg>
        <pc:spChg chg="add mod ord">
          <ac:chgData name="Philip Wenzel" userId="6acc32ce-9657-429b-a204-ad039ae9e71f" providerId="ADAL" clId="{CE9D8472-DA3B-4ED0-9480-B7547E8BB1FD}" dt="2024-05-03T09:40:11.105" v="724" actId="20577"/>
          <ac:spMkLst>
            <pc:docMk/>
            <pc:sldMk cId="1807580791" sldId="1706"/>
            <ac:spMk id="4" creationId="{998D7CF2-833F-0AFB-B2E3-2D0C073E9A24}"/>
          </ac:spMkLst>
        </pc:spChg>
        <pc:spChg chg="add del mod ord">
          <ac:chgData name="Philip Wenzel" userId="6acc32ce-9657-429b-a204-ad039ae9e71f" providerId="ADAL" clId="{CE9D8472-DA3B-4ED0-9480-B7547E8BB1FD}" dt="2024-05-03T09:40:42.014" v="750"/>
          <ac:spMkLst>
            <pc:docMk/>
            <pc:sldMk cId="1807580791" sldId="1706"/>
            <ac:spMk id="6" creationId="{28E323DF-CF7E-23FB-B331-612B5027BB16}"/>
          </ac:spMkLst>
        </pc:spChg>
        <pc:spChg chg="add del mod">
          <ac:chgData name="Philip Wenzel" userId="6acc32ce-9657-429b-a204-ad039ae9e71f" providerId="ADAL" clId="{CE9D8472-DA3B-4ED0-9480-B7547E8BB1FD}" dt="2024-05-03T09:40:02.919" v="700" actId="478"/>
          <ac:spMkLst>
            <pc:docMk/>
            <pc:sldMk cId="1807580791" sldId="1706"/>
            <ac:spMk id="8" creationId="{CD2287C1-776B-E225-B738-8F16E60A7BC9}"/>
          </ac:spMkLst>
        </pc:spChg>
        <pc:spChg chg="del mod ord">
          <ac:chgData name="Philip Wenzel" userId="6acc32ce-9657-429b-a204-ad039ae9e71f" providerId="ADAL" clId="{CE9D8472-DA3B-4ED0-9480-B7547E8BB1FD}" dt="2024-05-03T09:40:02.131" v="699" actId="478"/>
          <ac:spMkLst>
            <pc:docMk/>
            <pc:sldMk cId="1807580791" sldId="1706"/>
            <ac:spMk id="10" creationId="{CE4BC898-CC4E-43C8-8CEF-A9740B265FF4}"/>
          </ac:spMkLst>
        </pc:spChg>
        <pc:spChg chg="add mod">
          <ac:chgData name="Philip Wenzel" userId="6acc32ce-9657-429b-a204-ad039ae9e71f" providerId="ADAL" clId="{CE9D8472-DA3B-4ED0-9480-B7547E8BB1FD}" dt="2024-05-03T09:41:43.076" v="759" actId="1076"/>
          <ac:spMkLst>
            <pc:docMk/>
            <pc:sldMk cId="1807580791" sldId="1706"/>
            <ac:spMk id="11" creationId="{1316838F-11BD-0BBE-6E2A-DDDFAC013B52}"/>
          </ac:spMkLst>
        </pc:spChg>
        <pc:picChg chg="add mod modCrop">
          <ac:chgData name="Philip Wenzel" userId="6acc32ce-9657-429b-a204-ad039ae9e71f" providerId="ADAL" clId="{CE9D8472-DA3B-4ED0-9480-B7547E8BB1FD}" dt="2024-05-03T09:41:20.060" v="757" actId="18131"/>
          <ac:picMkLst>
            <pc:docMk/>
            <pc:sldMk cId="1807580791" sldId="1706"/>
            <ac:picMk id="9" creationId="{1E544808-6260-576E-1DCD-2A0EE2B098ED}"/>
          </ac:picMkLst>
        </pc:picChg>
      </pc:sldChg>
      <pc:sldChg chg="addSp modSp add del mod modAnim">
        <pc:chgData name="Philip Wenzel" userId="6acc32ce-9657-429b-a204-ad039ae9e71f" providerId="ADAL" clId="{CE9D8472-DA3B-4ED0-9480-B7547E8BB1FD}" dt="2024-05-06T06:15:27.470" v="951" actId="47"/>
        <pc:sldMkLst>
          <pc:docMk/>
          <pc:sldMk cId="4085616546" sldId="1707"/>
        </pc:sldMkLst>
        <pc:spChg chg="mod">
          <ac:chgData name="Philip Wenzel" userId="6acc32ce-9657-429b-a204-ad039ae9e71f" providerId="ADAL" clId="{CE9D8472-DA3B-4ED0-9480-B7547E8BB1FD}" dt="2024-04-09T15:01:50.804" v="300" actId="20577"/>
          <ac:spMkLst>
            <pc:docMk/>
            <pc:sldMk cId="4085616546" sldId="1707"/>
            <ac:spMk id="2" creationId="{4249AB66-CBBB-43EF-9ADD-D056233717BF}"/>
          </ac:spMkLst>
        </pc:spChg>
        <pc:spChg chg="mod">
          <ac:chgData name="Philip Wenzel" userId="6acc32ce-9657-429b-a204-ad039ae9e71f" providerId="ADAL" clId="{CE9D8472-DA3B-4ED0-9480-B7547E8BB1FD}" dt="2024-04-09T15:02:12.131" v="302" actId="5793"/>
          <ac:spMkLst>
            <pc:docMk/>
            <pc:sldMk cId="4085616546" sldId="1707"/>
            <ac:spMk id="3" creationId="{DF4EFF8A-432F-EE7B-9094-9DB92A4FC2EF}"/>
          </ac:spMkLst>
        </pc:spChg>
        <pc:spChg chg="add mod">
          <ac:chgData name="Philip Wenzel" userId="6acc32ce-9657-429b-a204-ad039ae9e71f" providerId="ADAL" clId="{CE9D8472-DA3B-4ED0-9480-B7547E8BB1FD}" dt="2024-04-26T09:40:30.126" v="380" actId="208"/>
          <ac:spMkLst>
            <pc:docMk/>
            <pc:sldMk cId="4085616546" sldId="1707"/>
            <ac:spMk id="6" creationId="{20A607E8-FA01-A1C6-0E68-293A0A9DAB76}"/>
          </ac:spMkLst>
        </pc:spChg>
        <pc:spChg chg="add mod">
          <ac:chgData name="Philip Wenzel" userId="6acc32ce-9657-429b-a204-ad039ae9e71f" providerId="ADAL" clId="{CE9D8472-DA3B-4ED0-9480-B7547E8BB1FD}" dt="2024-04-26T09:40:30.126" v="380" actId="208"/>
          <ac:spMkLst>
            <pc:docMk/>
            <pc:sldMk cId="4085616546" sldId="1707"/>
            <ac:spMk id="7" creationId="{BEBE3FE5-CC23-671E-259E-F821E1B9FEBA}"/>
          </ac:spMkLst>
        </pc:spChg>
        <pc:picChg chg="add mod">
          <ac:chgData name="Philip Wenzel" userId="6acc32ce-9657-429b-a204-ad039ae9e71f" providerId="ADAL" clId="{CE9D8472-DA3B-4ED0-9480-B7547E8BB1FD}" dt="2024-04-09T15:03:08.736" v="306" actId="208"/>
          <ac:picMkLst>
            <pc:docMk/>
            <pc:sldMk cId="4085616546" sldId="1707"/>
            <ac:picMk id="4" creationId="{BBF70651-57A9-3738-85F5-D98177C7B0A2}"/>
          </ac:picMkLst>
        </pc:picChg>
      </pc:sldChg>
      <pc:sldChg chg="addSp delSp modSp add mod ord modClrScheme modAnim chgLayout">
        <pc:chgData name="Philip Wenzel" userId="6acc32ce-9657-429b-a204-ad039ae9e71f" providerId="ADAL" clId="{CE9D8472-DA3B-4ED0-9480-B7547E8BB1FD}" dt="2024-05-23T10:15:56.825" v="1017"/>
        <pc:sldMkLst>
          <pc:docMk/>
          <pc:sldMk cId="3208767776" sldId="1708"/>
        </pc:sldMkLst>
        <pc:spChg chg="mod ord">
          <ac:chgData name="Philip Wenzel" userId="6acc32ce-9657-429b-a204-ad039ae9e71f" providerId="ADAL" clId="{CE9D8472-DA3B-4ED0-9480-B7547E8BB1FD}" dt="2024-05-03T09:43:35.753" v="851" actId="700"/>
          <ac:spMkLst>
            <pc:docMk/>
            <pc:sldMk cId="3208767776" sldId="1708"/>
            <ac:spMk id="2" creationId="{4249AB66-CBBB-43EF-9ADD-D056233717BF}"/>
          </ac:spMkLst>
        </pc:spChg>
        <pc:spChg chg="mod">
          <ac:chgData name="Philip Wenzel" userId="6acc32ce-9657-429b-a204-ad039ae9e71f" providerId="ADAL" clId="{CE9D8472-DA3B-4ED0-9480-B7547E8BB1FD}" dt="2024-05-03T09:44:09.018" v="879" actId="14100"/>
          <ac:spMkLst>
            <pc:docMk/>
            <pc:sldMk cId="3208767776" sldId="1708"/>
            <ac:spMk id="3" creationId="{DF4EFF8A-432F-EE7B-9094-9DB92A4FC2EF}"/>
          </ac:spMkLst>
        </pc:spChg>
        <pc:spChg chg="add del mod ord">
          <ac:chgData name="Philip Wenzel" userId="6acc32ce-9657-429b-a204-ad039ae9e71f" providerId="ADAL" clId="{CE9D8472-DA3B-4ED0-9480-B7547E8BB1FD}" dt="2024-05-03T09:43:54.210" v="876" actId="478"/>
          <ac:spMkLst>
            <pc:docMk/>
            <pc:sldMk cId="3208767776" sldId="1708"/>
            <ac:spMk id="4" creationId="{F654721E-9BAE-84BE-95A4-70373FF40C8F}"/>
          </ac:spMkLst>
        </pc:spChg>
        <pc:spChg chg="add del mod ord">
          <ac:chgData name="Philip Wenzel" userId="6acc32ce-9657-429b-a204-ad039ae9e71f" providerId="ADAL" clId="{CE9D8472-DA3B-4ED0-9480-B7547E8BB1FD}" dt="2024-05-03T09:43:15.622" v="849"/>
          <ac:spMkLst>
            <pc:docMk/>
            <pc:sldMk cId="3208767776" sldId="1708"/>
            <ac:spMk id="6" creationId="{8BDB4698-29A1-A977-7BB2-7A232C529FE9}"/>
          </ac:spMkLst>
        </pc:spChg>
        <pc:spChg chg="add del mod">
          <ac:chgData name="Philip Wenzel" userId="6acc32ce-9657-429b-a204-ad039ae9e71f" providerId="ADAL" clId="{CE9D8472-DA3B-4ED0-9480-B7547E8BB1FD}" dt="2024-05-03T09:42:53.456" v="821" actId="478"/>
          <ac:spMkLst>
            <pc:docMk/>
            <pc:sldMk cId="3208767776" sldId="1708"/>
            <ac:spMk id="8" creationId="{3C528F43-F723-8D17-7DD3-1A49F546278C}"/>
          </ac:spMkLst>
        </pc:spChg>
        <pc:spChg chg="add del mod">
          <ac:chgData name="Philip Wenzel" userId="6acc32ce-9657-429b-a204-ad039ae9e71f" providerId="ADAL" clId="{CE9D8472-DA3B-4ED0-9480-B7547E8BB1FD}" dt="2024-05-03T09:43:10.042" v="848"/>
          <ac:spMkLst>
            <pc:docMk/>
            <pc:sldMk cId="3208767776" sldId="1708"/>
            <ac:spMk id="9" creationId="{9BF40D6F-3F3D-73C5-81E4-7808B66FAF2C}"/>
          </ac:spMkLst>
        </pc:spChg>
        <pc:spChg chg="del mod ord">
          <ac:chgData name="Philip Wenzel" userId="6acc32ce-9657-429b-a204-ad039ae9e71f" providerId="ADAL" clId="{CE9D8472-DA3B-4ED0-9480-B7547E8BB1FD}" dt="2024-05-03T09:42:49.627" v="820" actId="478"/>
          <ac:spMkLst>
            <pc:docMk/>
            <pc:sldMk cId="3208767776" sldId="1708"/>
            <ac:spMk id="10" creationId="{CE4BC898-CC4E-43C8-8CEF-A9740B265FF4}"/>
          </ac:spMkLst>
        </pc:spChg>
        <pc:spChg chg="add mod ord">
          <ac:chgData name="Philip Wenzel" userId="6acc32ce-9657-429b-a204-ad039ae9e71f" providerId="ADAL" clId="{CE9D8472-DA3B-4ED0-9480-B7547E8BB1FD}" dt="2024-05-03T09:43:50.832" v="875" actId="20577"/>
          <ac:spMkLst>
            <pc:docMk/>
            <pc:sldMk cId="3208767776" sldId="1708"/>
            <ac:spMk id="12" creationId="{D3D2A328-1A0C-6EE4-B16B-28BBB5648CCC}"/>
          </ac:spMkLst>
        </pc:spChg>
        <pc:spChg chg="add del mod">
          <ac:chgData name="Philip Wenzel" userId="6acc32ce-9657-429b-a204-ad039ae9e71f" providerId="ADAL" clId="{CE9D8472-DA3B-4ED0-9480-B7547E8BB1FD}" dt="2024-05-03T09:43:56.432" v="877" actId="478"/>
          <ac:spMkLst>
            <pc:docMk/>
            <pc:sldMk cId="3208767776" sldId="1708"/>
            <ac:spMk id="14" creationId="{6CD111CC-B6A0-6DC0-9EC5-89D1E109B3CB}"/>
          </ac:spMkLst>
        </pc:spChg>
        <pc:spChg chg="add del mod">
          <ac:chgData name="Philip Wenzel" userId="6acc32ce-9657-429b-a204-ad039ae9e71f" providerId="ADAL" clId="{CE9D8472-DA3B-4ED0-9480-B7547E8BB1FD}" dt="2024-05-03T09:45:10.432" v="885" actId="478"/>
          <ac:spMkLst>
            <pc:docMk/>
            <pc:sldMk cId="3208767776" sldId="1708"/>
            <ac:spMk id="16" creationId="{8222C23D-CD98-F163-FE8F-09F7FDAE95C8}"/>
          </ac:spMkLst>
        </pc:spChg>
        <pc:spChg chg="add mod">
          <ac:chgData name="Philip Wenzel" userId="6acc32ce-9657-429b-a204-ad039ae9e71f" providerId="ADAL" clId="{CE9D8472-DA3B-4ED0-9480-B7547E8BB1FD}" dt="2024-05-03T09:45:51.364" v="887" actId="1076"/>
          <ac:spMkLst>
            <pc:docMk/>
            <pc:sldMk cId="3208767776" sldId="1708"/>
            <ac:spMk id="18" creationId="{18811728-FFC5-E218-949E-643224E5A3D9}"/>
          </ac:spMkLst>
        </pc:spChg>
        <pc:spChg chg="add mod">
          <ac:chgData name="Philip Wenzel" userId="6acc32ce-9657-429b-a204-ad039ae9e71f" providerId="ADAL" clId="{CE9D8472-DA3B-4ED0-9480-B7547E8BB1FD}" dt="2024-05-03T09:45:51.364" v="887" actId="1076"/>
          <ac:spMkLst>
            <pc:docMk/>
            <pc:sldMk cId="3208767776" sldId="1708"/>
            <ac:spMk id="19" creationId="{F908F03D-F312-EF89-BB28-4D977E0FE745}"/>
          </ac:spMkLst>
        </pc:spChg>
        <pc:picChg chg="add del mod ord modCrop">
          <ac:chgData name="Philip Wenzel" userId="6acc32ce-9657-429b-a204-ad039ae9e71f" providerId="ADAL" clId="{CE9D8472-DA3B-4ED0-9480-B7547E8BB1FD}" dt="2024-05-03T09:45:08.889" v="884" actId="478"/>
          <ac:picMkLst>
            <pc:docMk/>
            <pc:sldMk cId="3208767776" sldId="1708"/>
            <ac:picMk id="11" creationId="{A1B94BE6-4CAB-0AC3-B0D8-A7F73500A8A7}"/>
          </ac:picMkLst>
        </pc:picChg>
        <pc:picChg chg="add mod">
          <ac:chgData name="Philip Wenzel" userId="6acc32ce-9657-429b-a204-ad039ae9e71f" providerId="ADAL" clId="{CE9D8472-DA3B-4ED0-9480-B7547E8BB1FD}" dt="2024-05-03T09:45:51.364" v="887" actId="1076"/>
          <ac:picMkLst>
            <pc:docMk/>
            <pc:sldMk cId="3208767776" sldId="1708"/>
            <ac:picMk id="17" creationId="{A85A30DC-649F-008F-6012-88E9EF2011B7}"/>
          </ac:picMkLst>
        </pc:picChg>
      </pc:sldChg>
      <pc:sldChg chg="add ord">
        <pc:chgData name="Philip Wenzel" userId="6acc32ce-9657-429b-a204-ad039ae9e71f" providerId="ADAL" clId="{CE9D8472-DA3B-4ED0-9480-B7547E8BB1FD}" dt="2024-04-09T15:10:06.766" v="317"/>
        <pc:sldMkLst>
          <pc:docMk/>
          <pc:sldMk cId="3444898850" sldId="1709"/>
        </pc:sldMkLst>
      </pc:sldChg>
      <pc:sldChg chg="addSp delSp modSp add mod modClrScheme chgLayout">
        <pc:chgData name="Philip Wenzel" userId="6acc32ce-9657-429b-a204-ad039ae9e71f" providerId="ADAL" clId="{CE9D8472-DA3B-4ED0-9480-B7547E8BB1FD}" dt="2024-05-06T06:17:22.420" v="964" actId="27614"/>
        <pc:sldMkLst>
          <pc:docMk/>
          <pc:sldMk cId="1987473619" sldId="1710"/>
        </pc:sldMkLst>
        <pc:spChg chg="mod ord">
          <ac:chgData name="Philip Wenzel" userId="6acc32ce-9657-429b-a204-ad039ae9e71f" providerId="ADAL" clId="{CE9D8472-DA3B-4ED0-9480-B7547E8BB1FD}" dt="2024-05-03T09:49:14.156" v="890" actId="700"/>
          <ac:spMkLst>
            <pc:docMk/>
            <pc:sldMk cId="1987473619" sldId="1710"/>
            <ac:spMk id="2" creationId="{4249AB66-CBBB-43EF-9ADD-D056233717BF}"/>
          </ac:spMkLst>
        </pc:spChg>
        <pc:spChg chg="mod">
          <ac:chgData name="Philip Wenzel" userId="6acc32ce-9657-429b-a204-ad039ae9e71f" providerId="ADAL" clId="{CE9D8472-DA3B-4ED0-9480-B7547E8BB1FD}" dt="2024-05-03T09:49:24.842" v="898" actId="1076"/>
          <ac:spMkLst>
            <pc:docMk/>
            <pc:sldMk cId="1987473619" sldId="1710"/>
            <ac:spMk id="3" creationId="{DF4EFF8A-432F-EE7B-9094-9DB92A4FC2EF}"/>
          </ac:spMkLst>
        </pc:spChg>
        <pc:spChg chg="add del mod ord">
          <ac:chgData name="Philip Wenzel" userId="6acc32ce-9657-429b-a204-ad039ae9e71f" providerId="ADAL" clId="{CE9D8472-DA3B-4ED0-9480-B7547E8BB1FD}" dt="2024-05-03T09:49:08.490" v="889" actId="700"/>
          <ac:spMkLst>
            <pc:docMk/>
            <pc:sldMk cId="1987473619" sldId="1710"/>
            <ac:spMk id="4" creationId="{96B1E1F7-0B22-EF50-260B-27957EB253AE}"/>
          </ac:spMkLst>
        </pc:spChg>
        <pc:spChg chg="add del mod ord">
          <ac:chgData name="Philip Wenzel" userId="6acc32ce-9657-429b-a204-ad039ae9e71f" providerId="ADAL" clId="{CE9D8472-DA3B-4ED0-9480-B7547E8BB1FD}" dt="2024-05-03T09:49:08.490" v="889" actId="700"/>
          <ac:spMkLst>
            <pc:docMk/>
            <pc:sldMk cId="1987473619" sldId="1710"/>
            <ac:spMk id="6" creationId="{3B202DDA-F28E-9B88-BCB8-F2720406E413}"/>
          </ac:spMkLst>
        </pc:spChg>
        <pc:spChg chg="add mod ord">
          <ac:chgData name="Philip Wenzel" userId="6acc32ce-9657-429b-a204-ad039ae9e71f" providerId="ADAL" clId="{CE9D8472-DA3B-4ED0-9480-B7547E8BB1FD}" dt="2024-05-03T09:49:21.321" v="896" actId="20577"/>
          <ac:spMkLst>
            <pc:docMk/>
            <pc:sldMk cId="1987473619" sldId="1710"/>
            <ac:spMk id="7" creationId="{C8684A4B-B983-C7CE-F200-6ED360D30CC8}"/>
          </ac:spMkLst>
        </pc:spChg>
        <pc:spChg chg="add del mod ord">
          <ac:chgData name="Philip Wenzel" userId="6acc32ce-9657-429b-a204-ad039ae9e71f" providerId="ADAL" clId="{CE9D8472-DA3B-4ED0-9480-B7547E8BB1FD}" dt="2024-05-06T06:17:06.850" v="961"/>
          <ac:spMkLst>
            <pc:docMk/>
            <pc:sldMk cId="1987473619" sldId="1710"/>
            <ac:spMk id="8" creationId="{2A34E3D6-DFE6-FCC4-6963-4F4118F68680}"/>
          </ac:spMkLst>
        </pc:spChg>
        <pc:spChg chg="add del mod">
          <ac:chgData name="Philip Wenzel" userId="6acc32ce-9657-429b-a204-ad039ae9e71f" providerId="ADAL" clId="{CE9D8472-DA3B-4ED0-9480-B7547E8BB1FD}" dt="2024-05-06T06:17:15.723" v="963"/>
          <ac:spMkLst>
            <pc:docMk/>
            <pc:sldMk cId="1987473619" sldId="1710"/>
            <ac:spMk id="10" creationId="{040B1F9D-1A6A-7407-35F1-D541497C8891}"/>
          </ac:spMkLst>
        </pc:spChg>
        <pc:spChg chg="del mod ord">
          <ac:chgData name="Philip Wenzel" userId="6acc32ce-9657-429b-a204-ad039ae9e71f" providerId="ADAL" clId="{CE9D8472-DA3B-4ED0-9480-B7547E8BB1FD}" dt="2024-05-03T09:49:28.402" v="899" actId="478"/>
          <ac:spMkLst>
            <pc:docMk/>
            <pc:sldMk cId="1987473619" sldId="1710"/>
            <ac:spMk id="10" creationId="{CE4BC898-CC4E-43C8-8CEF-A9740B265FF4}"/>
          </ac:spMkLst>
        </pc:spChg>
        <pc:spChg chg="add del mod">
          <ac:chgData name="Philip Wenzel" userId="6acc32ce-9657-429b-a204-ad039ae9e71f" providerId="ADAL" clId="{CE9D8472-DA3B-4ED0-9480-B7547E8BB1FD}" dt="2024-05-03T09:49:29.384" v="900" actId="478"/>
          <ac:spMkLst>
            <pc:docMk/>
            <pc:sldMk cId="1987473619" sldId="1710"/>
            <ac:spMk id="11" creationId="{1B99047B-1D8D-2C5F-CC81-F4886E5A9282}"/>
          </ac:spMkLst>
        </pc:spChg>
        <pc:picChg chg="add del mod">
          <ac:chgData name="Philip Wenzel" userId="6acc32ce-9657-429b-a204-ad039ae9e71f" providerId="ADAL" clId="{CE9D8472-DA3B-4ED0-9480-B7547E8BB1FD}" dt="2024-05-06T06:17:11.829" v="962" actId="478"/>
          <ac:picMkLst>
            <pc:docMk/>
            <pc:sldMk cId="1987473619" sldId="1710"/>
            <ac:picMk id="6" creationId="{25B7603F-40A6-E02E-7B35-F1B903E68FD6}"/>
          </ac:picMkLst>
        </pc:picChg>
        <pc:picChg chg="add mod">
          <ac:chgData name="Philip Wenzel" userId="6acc32ce-9657-429b-a204-ad039ae9e71f" providerId="ADAL" clId="{CE9D8472-DA3B-4ED0-9480-B7547E8BB1FD}" dt="2024-05-06T06:17:22.420" v="964" actId="27614"/>
          <ac:picMkLst>
            <pc:docMk/>
            <pc:sldMk cId="1987473619" sldId="1710"/>
            <ac:picMk id="12" creationId="{D9E1E987-F320-7353-92CE-D7577D2F08DC}"/>
          </ac:picMkLst>
        </pc:picChg>
      </pc:sldChg>
    </pc:docChg>
  </pc:docChgLst>
  <pc:docChgLst>
    <pc:chgData name="Philip Wenzel" userId="6acc32ce-9657-429b-a204-ad039ae9e71f" providerId="ADAL" clId="{ECD53D00-8BC9-46CA-9289-F3445BA57022}"/>
    <pc:docChg chg="custSel delSld modSld modSection">
      <pc:chgData name="Philip Wenzel" userId="6acc32ce-9657-429b-a204-ad039ae9e71f" providerId="ADAL" clId="{ECD53D00-8BC9-46CA-9289-F3445BA57022}" dt="2024-08-13T15:27:21.594" v="251" actId="47"/>
      <pc:docMkLst>
        <pc:docMk/>
      </pc:docMkLst>
      <pc:sldChg chg="del">
        <pc:chgData name="Philip Wenzel" userId="6acc32ce-9657-429b-a204-ad039ae9e71f" providerId="ADAL" clId="{ECD53D00-8BC9-46CA-9289-F3445BA57022}" dt="2024-08-13T15:27:21.594" v="251" actId="47"/>
        <pc:sldMkLst>
          <pc:docMk/>
          <pc:sldMk cId="1195126823" sldId="278"/>
        </pc:sldMkLst>
      </pc:sldChg>
      <pc:sldChg chg="del">
        <pc:chgData name="Philip Wenzel" userId="6acc32ce-9657-429b-a204-ad039ae9e71f" providerId="ADAL" clId="{ECD53D00-8BC9-46CA-9289-F3445BA57022}" dt="2024-08-13T15:27:21.594" v="251" actId="47"/>
        <pc:sldMkLst>
          <pc:docMk/>
          <pc:sldMk cId="1510473394" sldId="280"/>
        </pc:sldMkLst>
      </pc:sldChg>
      <pc:sldChg chg="del">
        <pc:chgData name="Philip Wenzel" userId="6acc32ce-9657-429b-a204-ad039ae9e71f" providerId="ADAL" clId="{ECD53D00-8BC9-46CA-9289-F3445BA57022}" dt="2024-08-13T15:27:21.594" v="251" actId="47"/>
        <pc:sldMkLst>
          <pc:docMk/>
          <pc:sldMk cId="3446831779" sldId="281"/>
        </pc:sldMkLst>
      </pc:sldChg>
      <pc:sldChg chg="del">
        <pc:chgData name="Philip Wenzel" userId="6acc32ce-9657-429b-a204-ad039ae9e71f" providerId="ADAL" clId="{ECD53D00-8BC9-46CA-9289-F3445BA57022}" dt="2024-08-13T15:00:04.899" v="35" actId="47"/>
        <pc:sldMkLst>
          <pc:docMk/>
          <pc:sldMk cId="3071119971" sldId="286"/>
        </pc:sldMkLst>
      </pc:sldChg>
      <pc:sldChg chg="del">
        <pc:chgData name="Philip Wenzel" userId="6acc32ce-9657-429b-a204-ad039ae9e71f" providerId="ADAL" clId="{ECD53D00-8BC9-46CA-9289-F3445BA57022}" dt="2024-08-13T15:27:21.594" v="251" actId="47"/>
        <pc:sldMkLst>
          <pc:docMk/>
          <pc:sldMk cId="1756029256" sldId="293"/>
        </pc:sldMkLst>
      </pc:sldChg>
      <pc:sldChg chg="del">
        <pc:chgData name="Philip Wenzel" userId="6acc32ce-9657-429b-a204-ad039ae9e71f" providerId="ADAL" clId="{ECD53D00-8BC9-46CA-9289-F3445BA57022}" dt="2024-08-13T15:27:21.594" v="251" actId="47"/>
        <pc:sldMkLst>
          <pc:docMk/>
          <pc:sldMk cId="1772711628" sldId="295"/>
        </pc:sldMkLst>
      </pc:sldChg>
      <pc:sldChg chg="del">
        <pc:chgData name="Philip Wenzel" userId="6acc32ce-9657-429b-a204-ad039ae9e71f" providerId="ADAL" clId="{ECD53D00-8BC9-46CA-9289-F3445BA57022}" dt="2024-08-13T15:27:21.594" v="251" actId="47"/>
        <pc:sldMkLst>
          <pc:docMk/>
          <pc:sldMk cId="1136158713" sldId="296"/>
        </pc:sldMkLst>
      </pc:sldChg>
      <pc:sldChg chg="del">
        <pc:chgData name="Philip Wenzel" userId="6acc32ce-9657-429b-a204-ad039ae9e71f" providerId="ADAL" clId="{ECD53D00-8BC9-46CA-9289-F3445BA57022}" dt="2024-08-13T15:27:21.594" v="251" actId="47"/>
        <pc:sldMkLst>
          <pc:docMk/>
          <pc:sldMk cId="3631278334" sldId="297"/>
        </pc:sldMkLst>
      </pc:sldChg>
      <pc:sldChg chg="del">
        <pc:chgData name="Philip Wenzel" userId="6acc32ce-9657-429b-a204-ad039ae9e71f" providerId="ADAL" clId="{ECD53D00-8BC9-46CA-9289-F3445BA57022}" dt="2024-08-13T15:27:21.594" v="251" actId="47"/>
        <pc:sldMkLst>
          <pc:docMk/>
          <pc:sldMk cId="384679272" sldId="298"/>
        </pc:sldMkLst>
      </pc:sldChg>
      <pc:sldChg chg="del">
        <pc:chgData name="Philip Wenzel" userId="6acc32ce-9657-429b-a204-ad039ae9e71f" providerId="ADAL" clId="{ECD53D00-8BC9-46CA-9289-F3445BA57022}" dt="2024-08-13T15:27:21.594" v="251" actId="47"/>
        <pc:sldMkLst>
          <pc:docMk/>
          <pc:sldMk cId="2447670940" sldId="300"/>
        </pc:sldMkLst>
      </pc:sldChg>
      <pc:sldChg chg="del">
        <pc:chgData name="Philip Wenzel" userId="6acc32ce-9657-429b-a204-ad039ae9e71f" providerId="ADAL" clId="{ECD53D00-8BC9-46CA-9289-F3445BA57022}" dt="2024-08-13T15:27:21.594" v="251" actId="47"/>
        <pc:sldMkLst>
          <pc:docMk/>
          <pc:sldMk cId="2382381998" sldId="315"/>
        </pc:sldMkLst>
      </pc:sldChg>
      <pc:sldChg chg="del">
        <pc:chgData name="Philip Wenzel" userId="6acc32ce-9657-429b-a204-ad039ae9e71f" providerId="ADAL" clId="{ECD53D00-8BC9-46CA-9289-F3445BA57022}" dt="2024-08-13T15:27:21.594" v="251" actId="47"/>
        <pc:sldMkLst>
          <pc:docMk/>
          <pc:sldMk cId="1756672214" sldId="316"/>
        </pc:sldMkLst>
      </pc:sldChg>
      <pc:sldChg chg="del">
        <pc:chgData name="Philip Wenzel" userId="6acc32ce-9657-429b-a204-ad039ae9e71f" providerId="ADAL" clId="{ECD53D00-8BC9-46CA-9289-F3445BA57022}" dt="2024-08-13T15:27:21.594" v="251" actId="47"/>
        <pc:sldMkLst>
          <pc:docMk/>
          <pc:sldMk cId="2234474726" sldId="317"/>
        </pc:sldMkLst>
      </pc:sldChg>
      <pc:sldChg chg="del">
        <pc:chgData name="Philip Wenzel" userId="6acc32ce-9657-429b-a204-ad039ae9e71f" providerId="ADAL" clId="{ECD53D00-8BC9-46CA-9289-F3445BA57022}" dt="2024-08-13T15:27:21.594" v="251" actId="47"/>
        <pc:sldMkLst>
          <pc:docMk/>
          <pc:sldMk cId="685463710" sldId="319"/>
        </pc:sldMkLst>
      </pc:sldChg>
      <pc:sldChg chg="del">
        <pc:chgData name="Philip Wenzel" userId="6acc32ce-9657-429b-a204-ad039ae9e71f" providerId="ADAL" clId="{ECD53D00-8BC9-46CA-9289-F3445BA57022}" dt="2024-08-13T15:27:21.594" v="251" actId="47"/>
        <pc:sldMkLst>
          <pc:docMk/>
          <pc:sldMk cId="2008017774" sldId="320"/>
        </pc:sldMkLst>
      </pc:sldChg>
      <pc:sldChg chg="del">
        <pc:chgData name="Philip Wenzel" userId="6acc32ce-9657-429b-a204-ad039ae9e71f" providerId="ADAL" clId="{ECD53D00-8BC9-46CA-9289-F3445BA57022}" dt="2024-08-13T15:27:21.594" v="251" actId="47"/>
        <pc:sldMkLst>
          <pc:docMk/>
          <pc:sldMk cId="2147848765" sldId="322"/>
        </pc:sldMkLst>
      </pc:sldChg>
      <pc:sldChg chg="del">
        <pc:chgData name="Philip Wenzel" userId="6acc32ce-9657-429b-a204-ad039ae9e71f" providerId="ADAL" clId="{ECD53D00-8BC9-46CA-9289-F3445BA57022}" dt="2024-08-13T15:27:21.594" v="251" actId="47"/>
        <pc:sldMkLst>
          <pc:docMk/>
          <pc:sldMk cId="1768220681" sldId="323"/>
        </pc:sldMkLst>
      </pc:sldChg>
      <pc:sldChg chg="del">
        <pc:chgData name="Philip Wenzel" userId="6acc32ce-9657-429b-a204-ad039ae9e71f" providerId="ADAL" clId="{ECD53D00-8BC9-46CA-9289-F3445BA57022}" dt="2024-08-13T15:27:21.594" v="251" actId="47"/>
        <pc:sldMkLst>
          <pc:docMk/>
          <pc:sldMk cId="1155092282" sldId="325"/>
        </pc:sldMkLst>
      </pc:sldChg>
      <pc:sldChg chg="del">
        <pc:chgData name="Philip Wenzel" userId="6acc32ce-9657-429b-a204-ad039ae9e71f" providerId="ADAL" clId="{ECD53D00-8BC9-46CA-9289-F3445BA57022}" dt="2024-08-13T15:27:21.594" v="251" actId="47"/>
        <pc:sldMkLst>
          <pc:docMk/>
          <pc:sldMk cId="1906850863" sldId="326"/>
        </pc:sldMkLst>
      </pc:sldChg>
      <pc:sldChg chg="del">
        <pc:chgData name="Philip Wenzel" userId="6acc32ce-9657-429b-a204-ad039ae9e71f" providerId="ADAL" clId="{ECD53D00-8BC9-46CA-9289-F3445BA57022}" dt="2024-08-13T15:27:21.594" v="251" actId="47"/>
        <pc:sldMkLst>
          <pc:docMk/>
          <pc:sldMk cId="2173221907" sldId="327"/>
        </pc:sldMkLst>
      </pc:sldChg>
      <pc:sldChg chg="del">
        <pc:chgData name="Philip Wenzel" userId="6acc32ce-9657-429b-a204-ad039ae9e71f" providerId="ADAL" clId="{ECD53D00-8BC9-46CA-9289-F3445BA57022}" dt="2024-08-13T15:27:21.594" v="251" actId="47"/>
        <pc:sldMkLst>
          <pc:docMk/>
          <pc:sldMk cId="2231675622" sldId="328"/>
        </pc:sldMkLst>
      </pc:sldChg>
      <pc:sldChg chg="del">
        <pc:chgData name="Philip Wenzel" userId="6acc32ce-9657-429b-a204-ad039ae9e71f" providerId="ADAL" clId="{ECD53D00-8BC9-46CA-9289-F3445BA57022}" dt="2024-08-13T15:27:21.594" v="251" actId="47"/>
        <pc:sldMkLst>
          <pc:docMk/>
          <pc:sldMk cId="3001152802" sldId="329"/>
        </pc:sldMkLst>
      </pc:sldChg>
      <pc:sldChg chg="del">
        <pc:chgData name="Philip Wenzel" userId="6acc32ce-9657-429b-a204-ad039ae9e71f" providerId="ADAL" clId="{ECD53D00-8BC9-46CA-9289-F3445BA57022}" dt="2024-08-13T15:27:21.594" v="251" actId="47"/>
        <pc:sldMkLst>
          <pc:docMk/>
          <pc:sldMk cId="364771371" sldId="330"/>
        </pc:sldMkLst>
      </pc:sldChg>
      <pc:sldChg chg="del">
        <pc:chgData name="Philip Wenzel" userId="6acc32ce-9657-429b-a204-ad039ae9e71f" providerId="ADAL" clId="{ECD53D00-8BC9-46CA-9289-F3445BA57022}" dt="2024-08-13T15:27:21.594" v="251" actId="47"/>
        <pc:sldMkLst>
          <pc:docMk/>
          <pc:sldMk cId="486069620" sldId="331"/>
        </pc:sldMkLst>
      </pc:sldChg>
      <pc:sldChg chg="del">
        <pc:chgData name="Philip Wenzel" userId="6acc32ce-9657-429b-a204-ad039ae9e71f" providerId="ADAL" clId="{ECD53D00-8BC9-46CA-9289-F3445BA57022}" dt="2024-08-13T15:27:21.594" v="251" actId="47"/>
        <pc:sldMkLst>
          <pc:docMk/>
          <pc:sldMk cId="902978571" sldId="332"/>
        </pc:sldMkLst>
      </pc:sldChg>
      <pc:sldChg chg="del">
        <pc:chgData name="Philip Wenzel" userId="6acc32ce-9657-429b-a204-ad039ae9e71f" providerId="ADAL" clId="{ECD53D00-8BC9-46CA-9289-F3445BA57022}" dt="2024-08-13T15:27:21.594" v="251" actId="47"/>
        <pc:sldMkLst>
          <pc:docMk/>
          <pc:sldMk cId="2802184453" sldId="333"/>
        </pc:sldMkLst>
      </pc:sldChg>
      <pc:sldChg chg="del">
        <pc:chgData name="Philip Wenzel" userId="6acc32ce-9657-429b-a204-ad039ae9e71f" providerId="ADAL" clId="{ECD53D00-8BC9-46CA-9289-F3445BA57022}" dt="2024-08-13T15:27:21.594" v="251" actId="47"/>
        <pc:sldMkLst>
          <pc:docMk/>
          <pc:sldMk cId="1296701782" sldId="334"/>
        </pc:sldMkLst>
      </pc:sldChg>
      <pc:sldChg chg="del">
        <pc:chgData name="Philip Wenzel" userId="6acc32ce-9657-429b-a204-ad039ae9e71f" providerId="ADAL" clId="{ECD53D00-8BC9-46CA-9289-F3445BA57022}" dt="2024-08-13T15:27:21.594" v="251" actId="47"/>
        <pc:sldMkLst>
          <pc:docMk/>
          <pc:sldMk cId="833263822" sldId="336"/>
        </pc:sldMkLst>
      </pc:sldChg>
      <pc:sldChg chg="del">
        <pc:chgData name="Philip Wenzel" userId="6acc32ce-9657-429b-a204-ad039ae9e71f" providerId="ADAL" clId="{ECD53D00-8BC9-46CA-9289-F3445BA57022}" dt="2024-08-13T15:27:21.594" v="251" actId="47"/>
        <pc:sldMkLst>
          <pc:docMk/>
          <pc:sldMk cId="330114962" sldId="341"/>
        </pc:sldMkLst>
      </pc:sldChg>
      <pc:sldChg chg="del">
        <pc:chgData name="Philip Wenzel" userId="6acc32ce-9657-429b-a204-ad039ae9e71f" providerId="ADAL" clId="{ECD53D00-8BC9-46CA-9289-F3445BA57022}" dt="2024-08-13T15:27:21.594" v="251" actId="47"/>
        <pc:sldMkLst>
          <pc:docMk/>
          <pc:sldMk cId="2728289916" sldId="342"/>
        </pc:sldMkLst>
      </pc:sldChg>
      <pc:sldChg chg="del">
        <pc:chgData name="Philip Wenzel" userId="6acc32ce-9657-429b-a204-ad039ae9e71f" providerId="ADAL" clId="{ECD53D00-8BC9-46CA-9289-F3445BA57022}" dt="2024-08-13T15:27:21.594" v="251" actId="47"/>
        <pc:sldMkLst>
          <pc:docMk/>
          <pc:sldMk cId="1289673961" sldId="343"/>
        </pc:sldMkLst>
      </pc:sldChg>
      <pc:sldChg chg="del">
        <pc:chgData name="Philip Wenzel" userId="6acc32ce-9657-429b-a204-ad039ae9e71f" providerId="ADAL" clId="{ECD53D00-8BC9-46CA-9289-F3445BA57022}" dt="2024-08-13T15:27:21.594" v="251" actId="47"/>
        <pc:sldMkLst>
          <pc:docMk/>
          <pc:sldMk cId="2681001035" sldId="347"/>
        </pc:sldMkLst>
      </pc:sldChg>
      <pc:sldChg chg="del">
        <pc:chgData name="Philip Wenzel" userId="6acc32ce-9657-429b-a204-ad039ae9e71f" providerId="ADAL" clId="{ECD53D00-8BC9-46CA-9289-F3445BA57022}" dt="2024-08-13T15:27:21.594" v="251" actId="47"/>
        <pc:sldMkLst>
          <pc:docMk/>
          <pc:sldMk cId="1593625809" sldId="348"/>
        </pc:sldMkLst>
      </pc:sldChg>
      <pc:sldChg chg="del">
        <pc:chgData name="Philip Wenzel" userId="6acc32ce-9657-429b-a204-ad039ae9e71f" providerId="ADAL" clId="{ECD53D00-8BC9-46CA-9289-F3445BA57022}" dt="2024-08-13T15:27:21.594" v="251" actId="47"/>
        <pc:sldMkLst>
          <pc:docMk/>
          <pc:sldMk cId="968430137" sldId="349"/>
        </pc:sldMkLst>
      </pc:sldChg>
      <pc:sldChg chg="del">
        <pc:chgData name="Philip Wenzel" userId="6acc32ce-9657-429b-a204-ad039ae9e71f" providerId="ADAL" clId="{ECD53D00-8BC9-46CA-9289-F3445BA57022}" dt="2024-08-13T15:27:21.594" v="251" actId="47"/>
        <pc:sldMkLst>
          <pc:docMk/>
          <pc:sldMk cId="2008378277" sldId="350"/>
        </pc:sldMkLst>
      </pc:sldChg>
      <pc:sldChg chg="del">
        <pc:chgData name="Philip Wenzel" userId="6acc32ce-9657-429b-a204-ad039ae9e71f" providerId="ADAL" clId="{ECD53D00-8BC9-46CA-9289-F3445BA57022}" dt="2024-08-13T15:27:21.594" v="251" actId="47"/>
        <pc:sldMkLst>
          <pc:docMk/>
          <pc:sldMk cId="1358283070" sldId="351"/>
        </pc:sldMkLst>
      </pc:sldChg>
      <pc:sldChg chg="del">
        <pc:chgData name="Philip Wenzel" userId="6acc32ce-9657-429b-a204-ad039ae9e71f" providerId="ADAL" clId="{ECD53D00-8BC9-46CA-9289-F3445BA57022}" dt="2024-08-13T15:27:21.594" v="251" actId="47"/>
        <pc:sldMkLst>
          <pc:docMk/>
          <pc:sldMk cId="3741056242" sldId="352"/>
        </pc:sldMkLst>
      </pc:sldChg>
      <pc:sldChg chg="del">
        <pc:chgData name="Philip Wenzel" userId="6acc32ce-9657-429b-a204-ad039ae9e71f" providerId="ADAL" clId="{ECD53D00-8BC9-46CA-9289-F3445BA57022}" dt="2024-08-13T15:27:21.594" v="251" actId="47"/>
        <pc:sldMkLst>
          <pc:docMk/>
          <pc:sldMk cId="3767869490" sldId="353"/>
        </pc:sldMkLst>
      </pc:sldChg>
      <pc:sldChg chg="del">
        <pc:chgData name="Philip Wenzel" userId="6acc32ce-9657-429b-a204-ad039ae9e71f" providerId="ADAL" clId="{ECD53D00-8BC9-46CA-9289-F3445BA57022}" dt="2024-08-13T15:27:21.594" v="251" actId="47"/>
        <pc:sldMkLst>
          <pc:docMk/>
          <pc:sldMk cId="2071764689" sldId="354"/>
        </pc:sldMkLst>
      </pc:sldChg>
      <pc:sldChg chg="del">
        <pc:chgData name="Philip Wenzel" userId="6acc32ce-9657-429b-a204-ad039ae9e71f" providerId="ADAL" clId="{ECD53D00-8BC9-46CA-9289-F3445BA57022}" dt="2024-08-13T15:27:21.594" v="251" actId="47"/>
        <pc:sldMkLst>
          <pc:docMk/>
          <pc:sldMk cId="2455478622" sldId="358"/>
        </pc:sldMkLst>
      </pc:sldChg>
      <pc:sldChg chg="addSp delSp modSp mod">
        <pc:chgData name="Philip Wenzel" userId="6acc32ce-9657-429b-a204-ad039ae9e71f" providerId="ADAL" clId="{ECD53D00-8BC9-46CA-9289-F3445BA57022}" dt="2024-08-13T14:59:59.098" v="34" actId="20577"/>
        <pc:sldMkLst>
          <pc:docMk/>
          <pc:sldMk cId="84909877" sldId="359"/>
        </pc:sldMkLst>
        <pc:spChg chg="mod">
          <ac:chgData name="Philip Wenzel" userId="6acc32ce-9657-429b-a204-ad039ae9e71f" providerId="ADAL" clId="{ECD53D00-8BC9-46CA-9289-F3445BA57022}" dt="2024-08-13T14:59:59.098" v="34" actId="20577"/>
          <ac:spMkLst>
            <pc:docMk/>
            <pc:sldMk cId="84909877" sldId="359"/>
            <ac:spMk id="5" creationId="{CC24C50A-6133-4997-BD17-338D41E40979}"/>
          </ac:spMkLst>
        </pc:spChg>
        <pc:spChg chg="mod">
          <ac:chgData name="Philip Wenzel" userId="6acc32ce-9657-429b-a204-ad039ae9e71f" providerId="ADAL" clId="{ECD53D00-8BC9-46CA-9289-F3445BA57022}" dt="2024-08-13T14:59:48.101" v="4"/>
          <ac:spMkLst>
            <pc:docMk/>
            <pc:sldMk cId="84909877" sldId="359"/>
            <ac:spMk id="6" creationId="{73A397DA-5884-49B1-AE71-81733D306727}"/>
          </ac:spMkLst>
        </pc:spChg>
        <pc:graphicFrameChg chg="add del mod">
          <ac:chgData name="Philip Wenzel" userId="6acc32ce-9657-429b-a204-ad039ae9e71f" providerId="ADAL" clId="{ECD53D00-8BC9-46CA-9289-F3445BA57022}" dt="2024-08-13T14:59:16.433" v="1"/>
          <ac:graphicFrameMkLst>
            <pc:docMk/>
            <pc:sldMk cId="84909877" sldId="359"/>
            <ac:graphicFrameMk id="2" creationId="{A2FF2C06-26BF-8C17-D749-4DE2BC84ADCC}"/>
          </ac:graphicFrameMkLst>
        </pc:graphicFrameChg>
        <pc:graphicFrameChg chg="add del mod">
          <ac:chgData name="Philip Wenzel" userId="6acc32ce-9657-429b-a204-ad039ae9e71f" providerId="ADAL" clId="{ECD53D00-8BC9-46CA-9289-F3445BA57022}" dt="2024-08-13T14:59:26.968" v="3"/>
          <ac:graphicFrameMkLst>
            <pc:docMk/>
            <pc:sldMk cId="84909877" sldId="359"/>
            <ac:graphicFrameMk id="4" creationId="{7E6FCAF3-864B-ADCF-58A8-DC56C9FF215D}"/>
          </ac:graphicFrameMkLst>
        </pc:graphicFrameChg>
      </pc:sldChg>
      <pc:sldChg chg="del">
        <pc:chgData name="Philip Wenzel" userId="6acc32ce-9657-429b-a204-ad039ae9e71f" providerId="ADAL" clId="{ECD53D00-8BC9-46CA-9289-F3445BA57022}" dt="2024-08-13T15:27:21.594" v="251" actId="47"/>
        <pc:sldMkLst>
          <pc:docMk/>
          <pc:sldMk cId="2427770867" sldId="368"/>
        </pc:sldMkLst>
      </pc:sldChg>
      <pc:sldChg chg="del">
        <pc:chgData name="Philip Wenzel" userId="6acc32ce-9657-429b-a204-ad039ae9e71f" providerId="ADAL" clId="{ECD53D00-8BC9-46CA-9289-F3445BA57022}" dt="2024-08-13T15:27:21.594" v="251" actId="47"/>
        <pc:sldMkLst>
          <pc:docMk/>
          <pc:sldMk cId="2234290805" sldId="369"/>
        </pc:sldMkLst>
      </pc:sldChg>
      <pc:sldChg chg="del">
        <pc:chgData name="Philip Wenzel" userId="6acc32ce-9657-429b-a204-ad039ae9e71f" providerId="ADAL" clId="{ECD53D00-8BC9-46CA-9289-F3445BA57022}" dt="2024-08-13T15:27:21.594" v="251" actId="47"/>
        <pc:sldMkLst>
          <pc:docMk/>
          <pc:sldMk cId="3114407530" sldId="370"/>
        </pc:sldMkLst>
      </pc:sldChg>
      <pc:sldChg chg="del">
        <pc:chgData name="Philip Wenzel" userId="6acc32ce-9657-429b-a204-ad039ae9e71f" providerId="ADAL" clId="{ECD53D00-8BC9-46CA-9289-F3445BA57022}" dt="2024-08-13T15:27:21.594" v="251" actId="47"/>
        <pc:sldMkLst>
          <pc:docMk/>
          <pc:sldMk cId="1942466799" sldId="376"/>
        </pc:sldMkLst>
      </pc:sldChg>
      <pc:sldChg chg="del">
        <pc:chgData name="Philip Wenzel" userId="6acc32ce-9657-429b-a204-ad039ae9e71f" providerId="ADAL" clId="{ECD53D00-8BC9-46CA-9289-F3445BA57022}" dt="2024-08-13T15:27:21.594" v="251" actId="47"/>
        <pc:sldMkLst>
          <pc:docMk/>
          <pc:sldMk cId="1008130001" sldId="378"/>
        </pc:sldMkLst>
      </pc:sldChg>
      <pc:sldChg chg="del">
        <pc:chgData name="Philip Wenzel" userId="6acc32ce-9657-429b-a204-ad039ae9e71f" providerId="ADAL" clId="{ECD53D00-8BC9-46CA-9289-F3445BA57022}" dt="2024-08-13T15:27:21.594" v="251" actId="47"/>
        <pc:sldMkLst>
          <pc:docMk/>
          <pc:sldMk cId="712359554" sldId="379"/>
        </pc:sldMkLst>
      </pc:sldChg>
      <pc:sldChg chg="del">
        <pc:chgData name="Philip Wenzel" userId="6acc32ce-9657-429b-a204-ad039ae9e71f" providerId="ADAL" clId="{ECD53D00-8BC9-46CA-9289-F3445BA57022}" dt="2024-08-13T15:27:21.594" v="251" actId="47"/>
        <pc:sldMkLst>
          <pc:docMk/>
          <pc:sldMk cId="2626067772" sldId="381"/>
        </pc:sldMkLst>
      </pc:sldChg>
      <pc:sldChg chg="del">
        <pc:chgData name="Philip Wenzel" userId="6acc32ce-9657-429b-a204-ad039ae9e71f" providerId="ADAL" clId="{ECD53D00-8BC9-46CA-9289-F3445BA57022}" dt="2024-08-13T15:27:21.594" v="251" actId="47"/>
        <pc:sldMkLst>
          <pc:docMk/>
          <pc:sldMk cId="1397837704" sldId="382"/>
        </pc:sldMkLst>
      </pc:sldChg>
      <pc:sldChg chg="del">
        <pc:chgData name="Philip Wenzel" userId="6acc32ce-9657-429b-a204-ad039ae9e71f" providerId="ADAL" clId="{ECD53D00-8BC9-46CA-9289-F3445BA57022}" dt="2024-08-13T15:27:21.594" v="251" actId="47"/>
        <pc:sldMkLst>
          <pc:docMk/>
          <pc:sldMk cId="544816012" sldId="383"/>
        </pc:sldMkLst>
      </pc:sldChg>
      <pc:sldChg chg="del">
        <pc:chgData name="Philip Wenzel" userId="6acc32ce-9657-429b-a204-ad039ae9e71f" providerId="ADAL" clId="{ECD53D00-8BC9-46CA-9289-F3445BA57022}" dt="2024-08-13T15:27:21.594" v="251" actId="47"/>
        <pc:sldMkLst>
          <pc:docMk/>
          <pc:sldMk cId="3770284523" sldId="384"/>
        </pc:sldMkLst>
      </pc:sldChg>
      <pc:sldChg chg="del">
        <pc:chgData name="Philip Wenzel" userId="6acc32ce-9657-429b-a204-ad039ae9e71f" providerId="ADAL" clId="{ECD53D00-8BC9-46CA-9289-F3445BA57022}" dt="2024-08-13T15:27:21.594" v="251" actId="47"/>
        <pc:sldMkLst>
          <pc:docMk/>
          <pc:sldMk cId="1231462183" sldId="385"/>
        </pc:sldMkLst>
      </pc:sldChg>
      <pc:sldChg chg="del">
        <pc:chgData name="Philip Wenzel" userId="6acc32ce-9657-429b-a204-ad039ae9e71f" providerId="ADAL" clId="{ECD53D00-8BC9-46CA-9289-F3445BA57022}" dt="2024-08-13T15:00:04.899" v="35" actId="47"/>
        <pc:sldMkLst>
          <pc:docMk/>
          <pc:sldMk cId="102999155" sldId="1608"/>
        </pc:sldMkLst>
      </pc:sldChg>
      <pc:sldChg chg="addSp delSp modSp mod delAnim">
        <pc:chgData name="Philip Wenzel" userId="6acc32ce-9657-429b-a204-ad039ae9e71f" providerId="ADAL" clId="{ECD53D00-8BC9-46CA-9289-F3445BA57022}" dt="2024-08-13T15:02:19.812" v="218" actId="1076"/>
        <pc:sldMkLst>
          <pc:docMk/>
          <pc:sldMk cId="1174452327" sldId="1640"/>
        </pc:sldMkLst>
        <pc:spChg chg="del">
          <ac:chgData name="Philip Wenzel" userId="6acc32ce-9657-429b-a204-ad039ae9e71f" providerId="ADAL" clId="{ECD53D00-8BC9-46CA-9289-F3445BA57022}" dt="2024-08-13T15:01:10.236" v="37" actId="478"/>
          <ac:spMkLst>
            <pc:docMk/>
            <pc:sldMk cId="1174452327" sldId="1640"/>
            <ac:spMk id="2" creationId="{4249AB66-CBBB-43EF-9ADD-D056233717BF}"/>
          </ac:spMkLst>
        </pc:spChg>
        <pc:spChg chg="del">
          <ac:chgData name="Philip Wenzel" userId="6acc32ce-9657-429b-a204-ad039ae9e71f" providerId="ADAL" clId="{ECD53D00-8BC9-46CA-9289-F3445BA57022}" dt="2024-08-13T15:02:16.120" v="217" actId="478"/>
          <ac:spMkLst>
            <pc:docMk/>
            <pc:sldMk cId="1174452327" sldId="1640"/>
            <ac:spMk id="3" creationId="{DF4EFF8A-432F-EE7B-9094-9DB92A4FC2EF}"/>
          </ac:spMkLst>
        </pc:spChg>
        <pc:spChg chg="add mod">
          <ac:chgData name="Philip Wenzel" userId="6acc32ce-9657-429b-a204-ad039ae9e71f" providerId="ADAL" clId="{ECD53D00-8BC9-46CA-9289-F3445BA57022}" dt="2024-08-13T15:02:19.812" v="218" actId="1076"/>
          <ac:spMkLst>
            <pc:docMk/>
            <pc:sldMk cId="1174452327" sldId="1640"/>
            <ac:spMk id="6" creationId="{EEB34E87-F2D5-2580-89DB-C99FEB717D55}"/>
          </ac:spMkLst>
        </pc:spChg>
        <pc:graphicFrameChg chg="del">
          <ac:chgData name="Philip Wenzel" userId="6acc32ce-9657-429b-a204-ad039ae9e71f" providerId="ADAL" clId="{ECD53D00-8BC9-46CA-9289-F3445BA57022}" dt="2024-08-13T15:01:05.739" v="36" actId="478"/>
          <ac:graphicFrameMkLst>
            <pc:docMk/>
            <pc:sldMk cId="1174452327" sldId="1640"/>
            <ac:graphicFrameMk id="8" creationId="{1904EB4B-3EC3-5C23-A40C-D9783B8A4CB0}"/>
          </ac:graphicFrameMkLst>
        </pc:graphicFrameChg>
      </pc:sldChg>
      <pc:sldChg chg="del">
        <pc:chgData name="Philip Wenzel" userId="6acc32ce-9657-429b-a204-ad039ae9e71f" providerId="ADAL" clId="{ECD53D00-8BC9-46CA-9289-F3445BA57022}" dt="2024-08-13T15:12:11.910" v="249" actId="47"/>
        <pc:sldMkLst>
          <pc:docMk/>
          <pc:sldMk cId="2167883223" sldId="1669"/>
        </pc:sldMkLst>
      </pc:sldChg>
      <pc:sldChg chg="del">
        <pc:chgData name="Philip Wenzel" userId="6acc32ce-9657-429b-a204-ad039ae9e71f" providerId="ADAL" clId="{ECD53D00-8BC9-46CA-9289-F3445BA57022}" dt="2024-08-13T15:12:23.970" v="250" actId="47"/>
        <pc:sldMkLst>
          <pc:docMk/>
          <pc:sldMk cId="687670586" sldId="1670"/>
        </pc:sldMkLst>
      </pc:sldChg>
      <pc:sldChg chg="del">
        <pc:chgData name="Philip Wenzel" userId="6acc32ce-9657-429b-a204-ad039ae9e71f" providerId="ADAL" clId="{ECD53D00-8BC9-46CA-9289-F3445BA57022}" dt="2024-08-13T15:00:04.899" v="35" actId="47"/>
        <pc:sldMkLst>
          <pc:docMk/>
          <pc:sldMk cId="1143225576" sldId="1673"/>
        </pc:sldMkLst>
      </pc:sldChg>
      <pc:sldChg chg="modSp mod">
        <pc:chgData name="Philip Wenzel" userId="6acc32ce-9657-429b-a204-ad039ae9e71f" providerId="ADAL" clId="{ECD53D00-8BC9-46CA-9289-F3445BA57022}" dt="2024-08-13T15:02:26.740" v="221" actId="20577"/>
        <pc:sldMkLst>
          <pc:docMk/>
          <pc:sldMk cId="777377501" sldId="1674"/>
        </pc:sldMkLst>
        <pc:spChg chg="mod">
          <ac:chgData name="Philip Wenzel" userId="6acc32ce-9657-429b-a204-ad039ae9e71f" providerId="ADAL" clId="{ECD53D00-8BC9-46CA-9289-F3445BA57022}" dt="2024-08-13T15:02:26.740" v="221" actId="20577"/>
          <ac:spMkLst>
            <pc:docMk/>
            <pc:sldMk cId="777377501" sldId="1674"/>
            <ac:spMk id="10" creationId="{CE4BC898-CC4E-43C8-8CEF-A9740B265FF4}"/>
          </ac:spMkLst>
        </pc:spChg>
      </pc:sldChg>
      <pc:sldChg chg="modSp mod">
        <pc:chgData name="Philip Wenzel" userId="6acc32ce-9657-429b-a204-ad039ae9e71f" providerId="ADAL" clId="{ECD53D00-8BC9-46CA-9289-F3445BA57022}" dt="2024-08-13T15:06:16.682" v="242" actId="20577"/>
        <pc:sldMkLst>
          <pc:docMk/>
          <pc:sldMk cId="3897335136" sldId="1675"/>
        </pc:sldMkLst>
        <pc:spChg chg="mod">
          <ac:chgData name="Philip Wenzel" userId="6acc32ce-9657-429b-a204-ad039ae9e71f" providerId="ADAL" clId="{ECD53D00-8BC9-46CA-9289-F3445BA57022}" dt="2024-08-13T15:06:16.682" v="242" actId="20577"/>
          <ac:spMkLst>
            <pc:docMk/>
            <pc:sldMk cId="3897335136" sldId="1675"/>
            <ac:spMk id="3" creationId="{DF4EFF8A-432F-EE7B-9094-9DB92A4FC2EF}"/>
          </ac:spMkLst>
        </pc:spChg>
        <pc:spChg chg="mod">
          <ac:chgData name="Philip Wenzel" userId="6acc32ce-9657-429b-a204-ad039ae9e71f" providerId="ADAL" clId="{ECD53D00-8BC9-46CA-9289-F3445BA57022}" dt="2024-08-13T15:02:35.544" v="231" actId="20577"/>
          <ac:spMkLst>
            <pc:docMk/>
            <pc:sldMk cId="3897335136" sldId="1675"/>
            <ac:spMk id="10" creationId="{CE4BC898-CC4E-43C8-8CEF-A9740B265FF4}"/>
          </ac:spMkLst>
        </pc:spChg>
      </pc:sldChg>
      <pc:sldChg chg="modSp mod">
        <pc:chgData name="Philip Wenzel" userId="6acc32ce-9657-429b-a204-ad039ae9e71f" providerId="ADAL" clId="{ECD53D00-8BC9-46CA-9289-F3445BA57022}" dt="2024-08-13T15:02:44.190" v="241" actId="20577"/>
        <pc:sldMkLst>
          <pc:docMk/>
          <pc:sldMk cId="2685633474" sldId="1676"/>
        </pc:sldMkLst>
        <pc:spChg chg="mod">
          <ac:chgData name="Philip Wenzel" userId="6acc32ce-9657-429b-a204-ad039ae9e71f" providerId="ADAL" clId="{ECD53D00-8BC9-46CA-9289-F3445BA57022}" dt="2024-08-13T15:02:44.190" v="241" actId="20577"/>
          <ac:spMkLst>
            <pc:docMk/>
            <pc:sldMk cId="2685633474" sldId="1676"/>
            <ac:spMk id="10" creationId="{CE4BC898-CC4E-43C8-8CEF-A9740B265FF4}"/>
          </ac:spMkLst>
        </pc:spChg>
      </pc:sldChg>
      <pc:sldChg chg="del">
        <pc:chgData name="Philip Wenzel" userId="6acc32ce-9657-429b-a204-ad039ae9e71f" providerId="ADAL" clId="{ECD53D00-8BC9-46CA-9289-F3445BA57022}" dt="2024-08-13T15:10:31.929" v="247" actId="47"/>
        <pc:sldMkLst>
          <pc:docMk/>
          <pc:sldMk cId="2910805322" sldId="1678"/>
        </pc:sldMkLst>
      </pc:sldChg>
      <pc:sldChg chg="del">
        <pc:chgData name="Philip Wenzel" userId="6acc32ce-9657-429b-a204-ad039ae9e71f" providerId="ADAL" clId="{ECD53D00-8BC9-46CA-9289-F3445BA57022}" dt="2024-08-13T15:10:00.173" v="246" actId="47"/>
        <pc:sldMkLst>
          <pc:docMk/>
          <pc:sldMk cId="1873940636" sldId="1679"/>
        </pc:sldMkLst>
      </pc:sldChg>
      <pc:sldChg chg="modSp mod">
        <pc:chgData name="Philip Wenzel" userId="6acc32ce-9657-429b-a204-ad039ae9e71f" providerId="ADAL" clId="{ECD53D00-8BC9-46CA-9289-F3445BA57022}" dt="2024-08-13T15:09:08.516" v="243" actId="20577"/>
        <pc:sldMkLst>
          <pc:docMk/>
          <pc:sldMk cId="351930292" sldId="1680"/>
        </pc:sldMkLst>
        <pc:spChg chg="mod">
          <ac:chgData name="Philip Wenzel" userId="6acc32ce-9657-429b-a204-ad039ae9e71f" providerId="ADAL" clId="{ECD53D00-8BC9-46CA-9289-F3445BA57022}" dt="2024-08-13T15:09:08.516" v="243" actId="20577"/>
          <ac:spMkLst>
            <pc:docMk/>
            <pc:sldMk cId="351930292" sldId="1680"/>
            <ac:spMk id="23" creationId="{A00E52E5-CE73-C7BC-7D93-B6256551D666}"/>
          </ac:spMkLst>
        </pc:spChg>
      </pc:sldChg>
      <pc:sldChg chg="modSp mod">
        <pc:chgData name="Philip Wenzel" userId="6acc32ce-9657-429b-a204-ad039ae9e71f" providerId="ADAL" clId="{ECD53D00-8BC9-46CA-9289-F3445BA57022}" dt="2024-08-13T15:09:47.283" v="245" actId="20577"/>
        <pc:sldMkLst>
          <pc:docMk/>
          <pc:sldMk cId="1614845156" sldId="1683"/>
        </pc:sldMkLst>
        <pc:spChg chg="mod">
          <ac:chgData name="Philip Wenzel" userId="6acc32ce-9657-429b-a204-ad039ae9e71f" providerId="ADAL" clId="{ECD53D00-8BC9-46CA-9289-F3445BA57022}" dt="2024-08-13T15:09:47.283" v="245" actId="20577"/>
          <ac:spMkLst>
            <pc:docMk/>
            <pc:sldMk cId="1614845156" sldId="1683"/>
            <ac:spMk id="23" creationId="{A00E52E5-CE73-C7BC-7D93-B6256551D666}"/>
          </ac:spMkLst>
        </pc:spChg>
      </pc:sldChg>
      <pc:sldChg chg="del">
        <pc:chgData name="Philip Wenzel" userId="6acc32ce-9657-429b-a204-ad039ae9e71f" providerId="ADAL" clId="{ECD53D00-8BC9-46CA-9289-F3445BA57022}" dt="2024-08-13T15:11:30.261" v="248" actId="47"/>
        <pc:sldMkLst>
          <pc:docMk/>
          <pc:sldMk cId="266976824" sldId="1689"/>
        </pc:sldMkLst>
      </pc:sldChg>
      <pc:sldChg chg="del">
        <pc:chgData name="Philip Wenzel" userId="6acc32ce-9657-429b-a204-ad039ae9e71f" providerId="ADAL" clId="{ECD53D00-8BC9-46CA-9289-F3445BA57022}" dt="2024-08-13T15:11:30.261" v="248" actId="47"/>
        <pc:sldMkLst>
          <pc:docMk/>
          <pc:sldMk cId="1049981512" sldId="1690"/>
        </pc:sldMkLst>
      </pc:sldChg>
      <pc:sldChg chg="del">
        <pc:chgData name="Philip Wenzel" userId="6acc32ce-9657-429b-a204-ad039ae9e71f" providerId="ADAL" clId="{ECD53D00-8BC9-46CA-9289-F3445BA57022}" dt="2024-08-13T15:11:30.261" v="248" actId="47"/>
        <pc:sldMkLst>
          <pc:docMk/>
          <pc:sldMk cId="3352227928" sldId="1691"/>
        </pc:sldMkLst>
      </pc:sldChg>
      <pc:sldChg chg="del">
        <pc:chgData name="Philip Wenzel" userId="6acc32ce-9657-429b-a204-ad039ae9e71f" providerId="ADAL" clId="{ECD53D00-8BC9-46CA-9289-F3445BA57022}" dt="2024-08-13T15:11:30.261" v="248" actId="47"/>
        <pc:sldMkLst>
          <pc:docMk/>
          <pc:sldMk cId="3004957" sldId="1692"/>
        </pc:sldMkLst>
      </pc:sldChg>
      <pc:sldChg chg="del">
        <pc:chgData name="Philip Wenzel" userId="6acc32ce-9657-429b-a204-ad039ae9e71f" providerId="ADAL" clId="{ECD53D00-8BC9-46CA-9289-F3445BA57022}" dt="2024-08-13T15:11:30.261" v="248" actId="47"/>
        <pc:sldMkLst>
          <pc:docMk/>
          <pc:sldMk cId="1735053113" sldId="1693"/>
        </pc:sldMkLst>
      </pc:sldChg>
      <pc:sldChg chg="del">
        <pc:chgData name="Philip Wenzel" userId="6acc32ce-9657-429b-a204-ad039ae9e71f" providerId="ADAL" clId="{ECD53D00-8BC9-46CA-9289-F3445BA57022}" dt="2024-08-13T15:12:11.910" v="249" actId="47"/>
        <pc:sldMkLst>
          <pc:docMk/>
          <pc:sldMk cId="249840864" sldId="1694"/>
        </pc:sldMkLst>
      </pc:sldChg>
      <pc:sldChg chg="del">
        <pc:chgData name="Philip Wenzel" userId="6acc32ce-9657-429b-a204-ad039ae9e71f" providerId="ADAL" clId="{ECD53D00-8BC9-46CA-9289-F3445BA57022}" dt="2024-08-13T15:12:11.910" v="249" actId="47"/>
        <pc:sldMkLst>
          <pc:docMk/>
          <pc:sldMk cId="2890983792" sldId="1695"/>
        </pc:sldMkLst>
      </pc:sldChg>
      <pc:sldChg chg="del">
        <pc:chgData name="Philip Wenzel" userId="6acc32ce-9657-429b-a204-ad039ae9e71f" providerId="ADAL" clId="{ECD53D00-8BC9-46CA-9289-F3445BA57022}" dt="2024-08-13T15:12:11.910" v="249" actId="47"/>
        <pc:sldMkLst>
          <pc:docMk/>
          <pc:sldMk cId="3258294644" sldId="1696"/>
        </pc:sldMkLst>
      </pc:sldChg>
      <pc:sldChg chg="del">
        <pc:chgData name="Philip Wenzel" userId="6acc32ce-9657-429b-a204-ad039ae9e71f" providerId="ADAL" clId="{ECD53D00-8BC9-46CA-9289-F3445BA57022}" dt="2024-08-13T15:12:11.910" v="249" actId="47"/>
        <pc:sldMkLst>
          <pc:docMk/>
          <pc:sldMk cId="449275071" sldId="1697"/>
        </pc:sldMkLst>
      </pc:sldChg>
      <pc:sldChg chg="del">
        <pc:chgData name="Philip Wenzel" userId="6acc32ce-9657-429b-a204-ad039ae9e71f" providerId="ADAL" clId="{ECD53D00-8BC9-46CA-9289-F3445BA57022}" dt="2024-08-13T15:11:30.261" v="248" actId="47"/>
        <pc:sldMkLst>
          <pc:docMk/>
          <pc:sldMk cId="4031857166" sldId="1698"/>
        </pc:sldMkLst>
      </pc:sldChg>
      <pc:sldChg chg="del">
        <pc:chgData name="Philip Wenzel" userId="6acc32ce-9657-429b-a204-ad039ae9e71f" providerId="ADAL" clId="{ECD53D00-8BC9-46CA-9289-F3445BA57022}" dt="2024-08-13T15:12:23.970" v="250" actId="47"/>
        <pc:sldMkLst>
          <pc:docMk/>
          <pc:sldMk cId="1280391148" sldId="1699"/>
        </pc:sldMkLst>
      </pc:sldChg>
      <pc:sldChg chg="del">
        <pc:chgData name="Philip Wenzel" userId="6acc32ce-9657-429b-a204-ad039ae9e71f" providerId="ADAL" clId="{ECD53D00-8BC9-46CA-9289-F3445BA57022}" dt="2024-08-13T15:12:23.970" v="250" actId="47"/>
        <pc:sldMkLst>
          <pc:docMk/>
          <pc:sldMk cId="2038731542" sldId="1700"/>
        </pc:sldMkLst>
      </pc:sldChg>
      <pc:sldChg chg="del">
        <pc:chgData name="Philip Wenzel" userId="6acc32ce-9657-429b-a204-ad039ae9e71f" providerId="ADAL" clId="{ECD53D00-8BC9-46CA-9289-F3445BA57022}" dt="2024-08-13T15:12:23.970" v="250" actId="47"/>
        <pc:sldMkLst>
          <pc:docMk/>
          <pc:sldMk cId="3297044565" sldId="1702"/>
        </pc:sldMkLst>
      </pc:sldChg>
      <pc:sldChg chg="del">
        <pc:chgData name="Philip Wenzel" userId="6acc32ce-9657-429b-a204-ad039ae9e71f" providerId="ADAL" clId="{ECD53D00-8BC9-46CA-9289-F3445BA57022}" dt="2024-08-13T15:12:23.970" v="250" actId="47"/>
        <pc:sldMkLst>
          <pc:docMk/>
          <pc:sldMk cId="3427014688" sldId="1704"/>
        </pc:sldMkLst>
      </pc:sldChg>
      <pc:sldChg chg="del">
        <pc:chgData name="Philip Wenzel" userId="6acc32ce-9657-429b-a204-ad039ae9e71f" providerId="ADAL" clId="{ECD53D00-8BC9-46CA-9289-F3445BA57022}" dt="2024-08-13T15:12:23.970" v="250" actId="47"/>
        <pc:sldMkLst>
          <pc:docMk/>
          <pc:sldMk cId="1807580791" sldId="1706"/>
        </pc:sldMkLst>
      </pc:sldChg>
      <pc:sldChg chg="del">
        <pc:chgData name="Philip Wenzel" userId="6acc32ce-9657-429b-a204-ad039ae9e71f" providerId="ADAL" clId="{ECD53D00-8BC9-46CA-9289-F3445BA57022}" dt="2024-08-13T15:12:23.970" v="250" actId="47"/>
        <pc:sldMkLst>
          <pc:docMk/>
          <pc:sldMk cId="3208767776" sldId="1708"/>
        </pc:sldMkLst>
      </pc:sldChg>
      <pc:sldChg chg="del">
        <pc:chgData name="Philip Wenzel" userId="6acc32ce-9657-429b-a204-ad039ae9e71f" providerId="ADAL" clId="{ECD53D00-8BC9-46CA-9289-F3445BA57022}" dt="2024-08-13T15:12:23.970" v="250" actId="47"/>
        <pc:sldMkLst>
          <pc:docMk/>
          <pc:sldMk cId="1987473619" sldId="171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F9143AC-F275-4B8A-82F4-2F3CE0B8D3B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solidFill>
                <a:schemeClr val="tx2"/>
              </a:solidFill>
            </a:endParaRPr>
          </a:p>
        </p:txBody>
      </p:sp>
      <p:sp>
        <p:nvSpPr>
          <p:cNvPr id="3" name="Datumsplatzhalter 2">
            <a:extLst>
              <a:ext uri="{FF2B5EF4-FFF2-40B4-BE49-F238E27FC236}">
                <a16:creationId xmlns:a16="http://schemas.microsoft.com/office/drawing/2014/main" id="{F5E05DB6-3A22-4ED8-A2DF-FC87903C2A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A3DFDD7-199D-4069-9EDC-AAFF40370A35}" type="datetimeFigureOut">
              <a:rPr lang="en-US" smtClean="0">
                <a:solidFill>
                  <a:schemeClr val="tx2"/>
                </a:solidFill>
              </a:rPr>
              <a:t>8/13/2024</a:t>
            </a:fld>
            <a:endParaRPr lang="en-US">
              <a:solidFill>
                <a:schemeClr val="tx2"/>
              </a:solidFill>
            </a:endParaRPr>
          </a:p>
        </p:txBody>
      </p:sp>
      <p:sp>
        <p:nvSpPr>
          <p:cNvPr id="4" name="Fußzeilenplatzhalter 3">
            <a:extLst>
              <a:ext uri="{FF2B5EF4-FFF2-40B4-BE49-F238E27FC236}">
                <a16:creationId xmlns:a16="http://schemas.microsoft.com/office/drawing/2014/main" id="{C55D274F-5773-4841-A866-E61D5BD5A8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solidFill>
                <a:schemeClr val="tx2"/>
              </a:solidFill>
            </a:endParaRPr>
          </a:p>
        </p:txBody>
      </p:sp>
      <p:sp>
        <p:nvSpPr>
          <p:cNvPr id="5" name="Foliennummernplatzhalter 4">
            <a:extLst>
              <a:ext uri="{FF2B5EF4-FFF2-40B4-BE49-F238E27FC236}">
                <a16:creationId xmlns:a16="http://schemas.microsoft.com/office/drawing/2014/main" id="{418C93F0-B384-45A7-AFC2-7820B56144B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883EB1-95C9-453E-A2EB-84A31EA1A953}" type="slidenum">
              <a:rPr lang="en-US" smtClean="0">
                <a:solidFill>
                  <a:schemeClr val="tx2"/>
                </a:solidFill>
              </a:rPr>
              <a:t>‹Nr.›</a:t>
            </a:fld>
            <a:endParaRPr lang="en-US">
              <a:solidFill>
                <a:schemeClr val="tx2"/>
              </a:solidFill>
            </a:endParaRPr>
          </a:p>
        </p:txBody>
      </p:sp>
    </p:spTree>
    <p:extLst>
      <p:ext uri="{BB962C8B-B14F-4D97-AF65-F5344CB8AC3E}">
        <p14:creationId xmlns:p14="http://schemas.microsoft.com/office/powerpoint/2010/main" val="35732823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295611"/>
          </a:xfrm>
          <a:prstGeom prst="rect">
            <a:avLst/>
          </a:prstGeom>
        </p:spPr>
        <p:txBody>
          <a:bodyPr vert="horz" lIns="91440" tIns="45720" rIns="91440" bIns="45720" rtlCol="0"/>
          <a:lstStyle>
            <a:lvl1pPr algn="l" rtl="0">
              <a:defRPr sz="1200">
                <a:solidFill>
                  <a:schemeClr val="tx2"/>
                </a:solidFill>
              </a:defRPr>
            </a:lvl1pPr>
          </a:lstStyle>
          <a:p>
            <a:endParaRPr lang="de-DE" dirty="0"/>
          </a:p>
        </p:txBody>
      </p:sp>
      <p:sp>
        <p:nvSpPr>
          <p:cNvPr id="3" name="Datumsplatzhalter 2"/>
          <p:cNvSpPr>
            <a:spLocks noGrp="1"/>
          </p:cNvSpPr>
          <p:nvPr>
            <p:ph type="dt" idx="1"/>
          </p:nvPr>
        </p:nvSpPr>
        <p:spPr>
          <a:xfrm>
            <a:off x="3884613" y="0"/>
            <a:ext cx="2971800" cy="295611"/>
          </a:xfrm>
          <a:prstGeom prst="rect">
            <a:avLst/>
          </a:prstGeom>
        </p:spPr>
        <p:txBody>
          <a:bodyPr vert="horz" lIns="91440" tIns="45720" rIns="91440" bIns="45720" rtlCol="0"/>
          <a:lstStyle>
            <a:lvl1pPr algn="r" rtl="0">
              <a:defRPr sz="1200">
                <a:solidFill>
                  <a:schemeClr val="tx2"/>
                </a:solidFill>
              </a:defRPr>
            </a:lvl1pPr>
          </a:lstStyle>
          <a:p>
            <a:fld id="{B54ACF56-8AC0-413B-87D0-F58636EC0C94}" type="datetimeFigureOut">
              <a:rPr lang="de-DE" smtClean="0"/>
              <a:pPr/>
              <a:t>13.08.2024</a:t>
            </a:fld>
            <a:endParaRPr lang="de-DE" dirty="0"/>
          </a:p>
        </p:txBody>
      </p:sp>
      <p:sp>
        <p:nvSpPr>
          <p:cNvPr id="4" name="Folienbildplatzhalter 3"/>
          <p:cNvSpPr>
            <a:spLocks noGrp="1" noRot="1" noChangeAspect="1"/>
          </p:cNvSpPr>
          <p:nvPr>
            <p:ph type="sldImg" idx="2"/>
          </p:nvPr>
        </p:nvSpPr>
        <p:spPr>
          <a:xfrm>
            <a:off x="312821" y="800851"/>
            <a:ext cx="6232358" cy="3505702"/>
          </a:xfrm>
          <a:prstGeom prst="rect">
            <a:avLst/>
          </a:prstGeom>
          <a:noFill/>
          <a:ln w="12700">
            <a:solidFill>
              <a:schemeClr val="bg2"/>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312821" y="4648616"/>
            <a:ext cx="6232358" cy="38577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6" name="Fußzeilenplatzhalter 5"/>
          <p:cNvSpPr>
            <a:spLocks noGrp="1"/>
          </p:cNvSpPr>
          <p:nvPr>
            <p:ph type="ftr" sz="quarter" idx="4"/>
          </p:nvPr>
        </p:nvSpPr>
        <p:spPr>
          <a:xfrm>
            <a:off x="0" y="8848389"/>
            <a:ext cx="2971800" cy="295611"/>
          </a:xfrm>
          <a:prstGeom prst="rect">
            <a:avLst/>
          </a:prstGeom>
        </p:spPr>
        <p:txBody>
          <a:bodyPr vert="horz" lIns="91440" tIns="45720" rIns="91440" bIns="45720" rtlCol="0" anchor="b"/>
          <a:lstStyle>
            <a:lvl1pPr algn="l" rtl="0">
              <a:defRPr sz="1200">
                <a:solidFill>
                  <a:schemeClr val="tx2"/>
                </a:solidFill>
              </a:defRPr>
            </a:lvl1pPr>
          </a:lstStyle>
          <a:p>
            <a:endParaRPr lang="de-DE" dirty="0"/>
          </a:p>
        </p:txBody>
      </p:sp>
      <p:sp>
        <p:nvSpPr>
          <p:cNvPr id="7" name="Foliennummernplatzhalter 6"/>
          <p:cNvSpPr>
            <a:spLocks noGrp="1"/>
          </p:cNvSpPr>
          <p:nvPr>
            <p:ph type="sldNum" sz="quarter" idx="5"/>
          </p:nvPr>
        </p:nvSpPr>
        <p:spPr>
          <a:xfrm>
            <a:off x="3884613" y="8848389"/>
            <a:ext cx="2971800" cy="295611"/>
          </a:xfrm>
          <a:prstGeom prst="rect">
            <a:avLst/>
          </a:prstGeom>
        </p:spPr>
        <p:txBody>
          <a:bodyPr vert="horz" lIns="91440" tIns="45720" rIns="91440" bIns="45720" rtlCol="0" anchor="b"/>
          <a:lstStyle>
            <a:lvl1pPr algn="r" rtl="0">
              <a:defRPr sz="1200">
                <a:solidFill>
                  <a:schemeClr val="tx2"/>
                </a:solidFill>
              </a:defRPr>
            </a:lvl1pPr>
          </a:lstStyle>
          <a:p>
            <a:fld id="{7B6A1A71-1697-4AC4-91EE-DA2F6CEB7FF8}" type="slidenum">
              <a:rPr lang="de-DE" smtClean="0"/>
              <a:pPr/>
              <a:t>‹Nr.›</a:t>
            </a:fld>
            <a:endParaRPr lang="de-DE" dirty="0"/>
          </a:p>
        </p:txBody>
      </p:sp>
    </p:spTree>
    <p:extLst>
      <p:ext uri="{BB962C8B-B14F-4D97-AF65-F5344CB8AC3E}">
        <p14:creationId xmlns:p14="http://schemas.microsoft.com/office/powerpoint/2010/main" val="3740175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18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2pPr>
    <a:lvl3pPr marL="36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3pPr>
    <a:lvl4pPr marL="54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4pPr>
    <a:lvl5pPr marL="72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FD6202-36F7-4094-8992-4EB845450B57}"/>
              </a:ext>
            </a:extLst>
          </p:cNvPr>
          <p:cNvGraphicFramePr>
            <a:graphicFrameLocks noChangeAspect="1"/>
          </p:cNvGraphicFramePr>
          <p:nvPr userDrawn="1">
            <p:custDataLst>
              <p:tags r:id="rId1"/>
            </p:custDataLst>
            <p:extLst>
              <p:ext uri="{D42A27DB-BD31-4B8C-83A1-F6EECF244321}">
                <p14:modId xmlns:p14="http://schemas.microsoft.com/office/powerpoint/2010/main" val="299866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3FD6202-36F7-4094-8992-4EB84545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C981FB6B-D507-4213-824B-18B17512BA73}"/>
              </a:ext>
            </a:extLst>
          </p:cNvPr>
          <p:cNvSpPr/>
          <p:nvPr userDrawn="1"/>
        </p:nvSpPr>
        <p:spPr>
          <a:xfrm>
            <a:off x="200437" y="1831107"/>
            <a:ext cx="6677018" cy="48151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22" name="Freihandform: Form 21">
            <a:extLst>
              <a:ext uri="{FF2B5EF4-FFF2-40B4-BE49-F238E27FC236}">
                <a16:creationId xmlns:a16="http://schemas.microsoft.com/office/drawing/2014/main" id="{DEF94761-1C3A-4242-B358-C791D08D47DE}"/>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24" name="Freihandform: Form 23">
            <a:extLst>
              <a:ext uri="{FF2B5EF4-FFF2-40B4-BE49-F238E27FC236}">
                <a16:creationId xmlns:a16="http://schemas.microsoft.com/office/drawing/2014/main" id="{6917C283-807D-408C-89DE-7E9157D6D85F}"/>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
        <p:nvSpPr>
          <p:cNvPr id="21" name="Bildplatzhalter 20">
            <a:extLst>
              <a:ext uri="{FF2B5EF4-FFF2-40B4-BE49-F238E27FC236}">
                <a16:creationId xmlns:a16="http://schemas.microsoft.com/office/drawing/2014/main" id="{536B2866-E229-4EE3-9A83-7DA90A71AE34}"/>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5070577 w 11791121"/>
              <a:gd name="connsiteY12" fmla="*/ 6434593 h 6434593"/>
              <a:gd name="connsiteX13" fmla="*/ 5176620 w 11791121"/>
              <a:gd name="connsiteY13" fmla="*/ 6383214 h 6434593"/>
              <a:gd name="connsiteX14" fmla="*/ 5529571 w 11791121"/>
              <a:gd name="connsiteY14" fmla="*/ 5888242 h 6434593"/>
              <a:gd name="connsiteX15" fmla="*/ 6441050 w 11791121"/>
              <a:gd name="connsiteY15" fmla="*/ 2405411 h 6434593"/>
              <a:gd name="connsiteX16" fmla="*/ 6139310 w 11791121"/>
              <a:gd name="connsiteY16" fmla="*/ 1927714 h 6434593"/>
              <a:gd name="connsiteX17" fmla="*/ 6025426 w 11791121"/>
              <a:gd name="connsiteY17" fmla="*/ 1935861 h 6434593"/>
              <a:gd name="connsiteX18" fmla="*/ 955068 w 11791121"/>
              <a:gd name="connsiteY18" fmla="*/ 2780263 h 6434593"/>
              <a:gd name="connsiteX19" fmla="*/ 68578 w 11791121"/>
              <a:gd name="connsiteY19" fmla="*/ 3514183 h 6434593"/>
              <a:gd name="connsiteX20" fmla="*/ 36064 w 11791121"/>
              <a:gd name="connsiteY20" fmla="*/ 3582576 h 6434593"/>
              <a:gd name="connsiteX21" fmla="*/ 0 w 11791121"/>
              <a:gd name="connsiteY21" fmla="*/ 366440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5070577" y="6434593"/>
                </a:lnTo>
                <a:lnTo>
                  <a:pt x="5176620" y="6383214"/>
                </a:lnTo>
                <a:cubicBezTo>
                  <a:pt x="5368553" y="6267717"/>
                  <a:pt x="5478604" y="6083888"/>
                  <a:pt x="5529571" y="5888242"/>
                </a:cubicBezTo>
                <a:cubicBezTo>
                  <a:pt x="5529571" y="5888242"/>
                  <a:pt x="6358189" y="2725022"/>
                  <a:pt x="6441050" y="2405411"/>
                </a:cubicBezTo>
                <a:cubicBezTo>
                  <a:pt x="6515856" y="2115394"/>
                  <a:pt x="6388254" y="1934133"/>
                  <a:pt x="6139310" y="1927714"/>
                </a:cubicBezTo>
                <a:cubicBezTo>
                  <a:pt x="6103747" y="1926798"/>
                  <a:pt x="6065707" y="1929449"/>
                  <a:pt x="6025426" y="1935861"/>
                </a:cubicBezTo>
                <a:cubicBezTo>
                  <a:pt x="5697924" y="1985842"/>
                  <a:pt x="1295722" y="2688195"/>
                  <a:pt x="955068" y="2780263"/>
                </a:cubicBezTo>
                <a:cubicBezTo>
                  <a:pt x="544705" y="2890746"/>
                  <a:pt x="276390" y="3101188"/>
                  <a:pt x="68578" y="3514183"/>
                </a:cubicBezTo>
                <a:cubicBezTo>
                  <a:pt x="58836" y="3533542"/>
                  <a:pt x="47959" y="3556456"/>
                  <a:pt x="36064" y="3582576"/>
                </a:cubicBezTo>
                <a:lnTo>
                  <a:pt x="0" y="366440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745185" y="3805389"/>
            <a:ext cx="5094302" cy="993092"/>
          </a:xfrm>
        </p:spPr>
        <p:txBody>
          <a:bodyPr vert="horz" anchor="b">
            <a:normAutofit/>
          </a:bodyPr>
          <a:lstStyle>
            <a:lvl1pPr algn="l" rtl="0">
              <a:lnSpc>
                <a:spcPct val="80000"/>
              </a:lnSpc>
              <a:defRPr sz="4000" b="1">
                <a:solidFill>
                  <a:schemeClr val="accent1"/>
                </a:solidFill>
              </a:defRPr>
            </a:lvl1pPr>
          </a:lstStyle>
          <a:p>
            <a:r>
              <a:rPr lang="de-DE" noProof="0" dirty="0"/>
              <a:t>Titel der Präsentation,</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745183" y="4841551"/>
            <a:ext cx="5094301" cy="615553"/>
          </a:xfrm>
        </p:spPr>
        <p:txBody>
          <a:bodyPr>
            <a:noAutofit/>
          </a:bodyPr>
          <a:lstStyle>
            <a:lvl1pPr marL="0" indent="0" algn="l" rtl="0">
              <a:spcAft>
                <a:spcPts val="0"/>
              </a:spcAft>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745184" y="5851632"/>
            <a:ext cx="3320978" cy="369332"/>
          </a:xfrm>
        </p:spPr>
        <p:txBody>
          <a:bodyPr wrap="square">
            <a:noAutofit/>
          </a:bodyPr>
          <a:lstStyle>
            <a:lvl1pPr rtl="0">
              <a:spcAft>
                <a:spcPts val="0"/>
              </a:spcAft>
              <a:defRPr sz="1200" b="0">
                <a:solidFill>
                  <a:schemeClr val="bg1"/>
                </a:solidFill>
              </a:defRPr>
            </a:lvl1pPr>
          </a:lstStyle>
          <a:p>
            <a:pPr lvl="0"/>
            <a:r>
              <a:rPr lang="de-DE" noProof="0" dirty="0"/>
              <a:t>Name, Abteilung</a:t>
            </a:r>
          </a:p>
          <a:p>
            <a:pPr lvl="0"/>
            <a:r>
              <a:rPr lang="de-DE" noProof="0" dirty="0"/>
              <a:t>Ort, Datum</a:t>
            </a:r>
          </a:p>
        </p:txBody>
      </p:sp>
    </p:spTree>
    <p:extLst>
      <p:ext uri="{BB962C8B-B14F-4D97-AF65-F5344CB8AC3E}">
        <p14:creationId xmlns:p14="http://schemas.microsoft.com/office/powerpoint/2010/main" val="3063180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adran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3D02009-4389-4113-A170-B981C2934D85}"/>
              </a:ext>
            </a:extLst>
          </p:cNvPr>
          <p:cNvGraphicFramePr>
            <a:graphicFrameLocks noChangeAspect="1"/>
          </p:cNvGraphicFramePr>
          <p:nvPr userDrawn="1">
            <p:custDataLst>
              <p:tags r:id="rId1"/>
            </p:custDataLst>
            <p:extLst>
              <p:ext uri="{D42A27DB-BD31-4B8C-83A1-F6EECF244321}">
                <p14:modId xmlns:p14="http://schemas.microsoft.com/office/powerpoint/2010/main" val="388442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3D02009-4389-4113-A170-B981C2934D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5" y="1628775"/>
            <a:ext cx="5472113" cy="2087563"/>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6240463" y="1628775"/>
            <a:ext cx="5472112" cy="2087563"/>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9" name="Textplatzhalter 8">
            <a:extLst>
              <a:ext uri="{FF2B5EF4-FFF2-40B4-BE49-F238E27FC236}">
                <a16:creationId xmlns:a16="http://schemas.microsoft.com/office/drawing/2014/main" id="{6B133476-BB35-4E82-AEA0-BC4A2B21AC70}"/>
              </a:ext>
            </a:extLst>
          </p:cNvPr>
          <p:cNvSpPr>
            <a:spLocks noGrp="1"/>
          </p:cNvSpPr>
          <p:nvPr>
            <p:ph type="body" sz="quarter" idx="13" hasCustomPrompt="1"/>
          </p:nvPr>
        </p:nvSpPr>
        <p:spPr bwMode="gray">
          <a:xfrm>
            <a:off x="479425" y="4005263"/>
            <a:ext cx="5472113" cy="2087562"/>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11" name="Textplatzhalter 10">
            <a:extLst>
              <a:ext uri="{FF2B5EF4-FFF2-40B4-BE49-F238E27FC236}">
                <a16:creationId xmlns:a16="http://schemas.microsoft.com/office/drawing/2014/main" id="{BEDCBE7C-020C-4387-AB39-CC36D49FFF72}"/>
              </a:ext>
            </a:extLst>
          </p:cNvPr>
          <p:cNvSpPr>
            <a:spLocks noGrp="1"/>
          </p:cNvSpPr>
          <p:nvPr>
            <p:ph type="body" sz="quarter" idx="14" hasCustomPrompt="1"/>
          </p:nvPr>
        </p:nvSpPr>
        <p:spPr bwMode="gray">
          <a:xfrm>
            <a:off x="6240463" y="4005263"/>
            <a:ext cx="5472112" cy="2087562"/>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12" name="Textplatzhalter 2">
            <a:extLst>
              <a:ext uri="{FF2B5EF4-FFF2-40B4-BE49-F238E27FC236}">
                <a16:creationId xmlns:a16="http://schemas.microsoft.com/office/drawing/2014/main" id="{0B2E5FE3-E275-4F4C-ADAE-8FC6E7CCF324}"/>
              </a:ext>
            </a:extLst>
          </p:cNvPr>
          <p:cNvSpPr>
            <a:spLocks noGrp="1"/>
          </p:cNvSpPr>
          <p:nvPr>
            <p:ph type="body" sz="quarter" idx="15"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52646156"/>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guide id="3" orient="horz" pos="2341" userDrawn="1">
          <p15:clr>
            <a:srgbClr val="FBAE40"/>
          </p15:clr>
        </p15:guide>
        <p15:guide id="4" orient="horz" pos="252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rechts kle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219E32-A4A9-4B90-AB38-6F3A9D18DA3B}"/>
              </a:ext>
            </a:extLst>
          </p:cNvPr>
          <p:cNvGraphicFramePr>
            <a:graphicFrameLocks noChangeAspect="1"/>
          </p:cNvGraphicFramePr>
          <p:nvPr userDrawn="1">
            <p:custDataLst>
              <p:tags r:id="rId1"/>
            </p:custDataLst>
            <p:extLst>
              <p:ext uri="{D42A27DB-BD31-4B8C-83A1-F6EECF244321}">
                <p14:modId xmlns:p14="http://schemas.microsoft.com/office/powerpoint/2010/main" val="57634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B219E32-A4A9-4B90-AB38-6F3A9D18DA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6240463" y="1628775"/>
            <a:ext cx="5472112" cy="4464050"/>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C17A6F04-8A7D-4C5B-8D8E-5CABE03CD914}"/>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1967172038"/>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ild rechts gro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6613608-BF8A-428D-AB6E-2601935B970B}"/>
              </a:ext>
            </a:extLst>
          </p:cNvPr>
          <p:cNvGraphicFramePr>
            <a:graphicFrameLocks noChangeAspect="1"/>
          </p:cNvGraphicFramePr>
          <p:nvPr userDrawn="1">
            <p:custDataLst>
              <p:tags r:id="rId1"/>
            </p:custDataLst>
            <p:extLst>
              <p:ext uri="{D42A27DB-BD31-4B8C-83A1-F6EECF244321}">
                <p14:modId xmlns:p14="http://schemas.microsoft.com/office/powerpoint/2010/main" val="112392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6613608-BF8A-428D-AB6E-2601935B97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6440232" y="211702"/>
            <a:ext cx="5551327" cy="6434592"/>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5472109" cy="886397"/>
          </a:xfrm>
        </p:spPr>
        <p:txBody>
          <a:bodyPr vert="horz">
            <a:noAutofit/>
          </a:bodyPr>
          <a:lstStyle>
            <a:lvl1pPr rtl="0">
              <a:defRPr/>
            </a:lvl1pPr>
          </a:lstStyle>
          <a:p>
            <a:r>
              <a:rPr lang="de-DE" noProof="0" dirty="0"/>
              <a:t>Headline, max. 2 Zeilen, </a:t>
            </a:r>
            <a:br>
              <a:rPr lang="de-DE" noProof="0" dirty="0"/>
            </a:br>
            <a:r>
              <a:rPr lang="de-DE" noProof="0" dirty="0"/>
              <a:t>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5" y="2004369"/>
            <a:ext cx="5472111" cy="408845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8" name="Gerader Verbinder 7">
            <a:extLst>
              <a:ext uri="{FF2B5EF4-FFF2-40B4-BE49-F238E27FC236}">
                <a16:creationId xmlns:a16="http://schemas.microsoft.com/office/drawing/2014/main" id="{FEEF9455-781B-4CF9-916F-894FF87162F8}"/>
              </a:ext>
            </a:extLst>
          </p:cNvPr>
          <p:cNvCxnSpPr>
            <a:cxnSpLocks/>
          </p:cNvCxnSpPr>
          <p:nvPr userDrawn="1"/>
        </p:nvCxnSpPr>
        <p:spPr bwMode="gray">
          <a:xfrm>
            <a:off x="479425" y="651016"/>
            <a:ext cx="5472113" cy="0"/>
          </a:xfrm>
          <a:prstGeom prst="line">
            <a:avLst/>
          </a:prstGeom>
          <a:noFill/>
          <a:ln w="6350" cap="flat">
            <a:solidFill>
              <a:srgbClr val="2F4D72"/>
            </a:solidFill>
            <a:prstDash val="solid"/>
            <a:miter/>
          </a:ln>
        </p:spPr>
      </p:cxnSp>
      <p:sp>
        <p:nvSpPr>
          <p:cNvPr id="10" name="Textfeld 9">
            <a:extLst>
              <a:ext uri="{FF2B5EF4-FFF2-40B4-BE49-F238E27FC236}">
                <a16:creationId xmlns:a16="http://schemas.microsoft.com/office/drawing/2014/main" id="{930178F5-9D96-41A2-A823-8F5177131B7B}"/>
              </a:ext>
            </a:extLst>
          </p:cNvPr>
          <p:cNvSpPr txBox="1"/>
          <p:nvPr userDrawn="1"/>
        </p:nvSpPr>
        <p:spPr bwMode="gray">
          <a:xfrm>
            <a:off x="479425" y="6418362"/>
            <a:ext cx="1705595" cy="153888"/>
          </a:xfrm>
          <a:prstGeom prst="rect">
            <a:avLst/>
          </a:prstGeom>
        </p:spPr>
        <p:txBody>
          <a:bodyPr wrap="non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de-DE" noProof="0" dirty="0"/>
              <a:t>Fonds Finanz. Mein Maklerpool</a:t>
            </a:r>
          </a:p>
        </p:txBody>
      </p:sp>
      <p:sp>
        <p:nvSpPr>
          <p:cNvPr id="12" name="Textplatzhalter 2">
            <a:extLst>
              <a:ext uri="{FF2B5EF4-FFF2-40B4-BE49-F238E27FC236}">
                <a16:creationId xmlns:a16="http://schemas.microsoft.com/office/drawing/2014/main" id="{9A099650-CDA9-49E5-AF8A-B436FE275382}"/>
              </a:ext>
            </a:extLst>
          </p:cNvPr>
          <p:cNvSpPr>
            <a:spLocks noGrp="1"/>
          </p:cNvSpPr>
          <p:nvPr>
            <p:ph type="body" sz="quarter" idx="12" hasCustomPrompt="1"/>
          </p:nvPr>
        </p:nvSpPr>
        <p:spPr>
          <a:xfrm>
            <a:off x="479425" y="156260"/>
            <a:ext cx="5472109" cy="430887"/>
          </a:xfrm>
        </p:spPr>
        <p:txBody>
          <a:bodyPr wrap="square"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0044741"/>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orient="horz" pos="125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links kle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6865E4C-C203-442C-A09D-E38161EC27B1}"/>
              </a:ext>
            </a:extLst>
          </p:cNvPr>
          <p:cNvGraphicFramePr>
            <a:graphicFrameLocks noChangeAspect="1"/>
          </p:cNvGraphicFramePr>
          <p:nvPr userDrawn="1">
            <p:custDataLst>
              <p:tags r:id="rId1"/>
            </p:custDataLst>
            <p:extLst>
              <p:ext uri="{D42A27DB-BD31-4B8C-83A1-F6EECF244321}">
                <p14:modId xmlns:p14="http://schemas.microsoft.com/office/powerpoint/2010/main" val="218232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D6865E4C-C203-442C-A09D-E38161EC2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479425" y="1628775"/>
            <a:ext cx="5472112" cy="4464050"/>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6240464"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72B43CB5-80C1-4207-BE73-CF0AFCAEF0A2}"/>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809040355"/>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links gro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AEA9E99-8C39-4BCD-BF1E-F1FC24387735}"/>
              </a:ext>
            </a:extLst>
          </p:cNvPr>
          <p:cNvGraphicFramePr>
            <a:graphicFrameLocks noChangeAspect="1"/>
          </p:cNvGraphicFramePr>
          <p:nvPr userDrawn="1">
            <p:custDataLst>
              <p:tags r:id="rId1"/>
            </p:custDataLst>
            <p:extLst>
              <p:ext uri="{D42A27DB-BD31-4B8C-83A1-F6EECF244321}">
                <p14:modId xmlns:p14="http://schemas.microsoft.com/office/powerpoint/2010/main" val="231596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7AEA9E99-8C39-4BCD-BF1E-F1FC243877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200439" y="211702"/>
            <a:ext cx="5551327" cy="643459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a:t>
            </a:r>
            <a:br>
              <a:rPr lang="de-DE" noProof="0" dirty="0"/>
            </a:br>
            <a:r>
              <a:rPr lang="de-DE" noProof="0" dirty="0"/>
              <a:t>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6240463" y="739916"/>
            <a:ext cx="5472109" cy="886397"/>
          </a:xfrm>
        </p:spPr>
        <p:txBody>
          <a:bodyPr vert="horz">
            <a:noAutofit/>
          </a:bodyPr>
          <a:lstStyle>
            <a:lvl1pPr rtl="0">
              <a:defRPr/>
            </a:lvl1pPr>
          </a:lstStyle>
          <a:p>
            <a:r>
              <a:rPr lang="de-DE" noProof="0" dirty="0"/>
              <a:t>Headline, max. 2 Zeilen, </a:t>
            </a:r>
            <a:br>
              <a:rPr lang="de-DE" noProof="0" dirty="0"/>
            </a:br>
            <a:r>
              <a:rPr lang="de-DE" noProof="0" dirty="0"/>
              <a:t>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6240463" y="2004369"/>
            <a:ext cx="5472111" cy="408845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8" name="Gerader Verbinder 7">
            <a:extLst>
              <a:ext uri="{FF2B5EF4-FFF2-40B4-BE49-F238E27FC236}">
                <a16:creationId xmlns:a16="http://schemas.microsoft.com/office/drawing/2014/main" id="{FEEF9455-781B-4CF9-916F-894FF87162F8}"/>
              </a:ext>
            </a:extLst>
          </p:cNvPr>
          <p:cNvCxnSpPr>
            <a:cxnSpLocks/>
          </p:cNvCxnSpPr>
          <p:nvPr userDrawn="1"/>
        </p:nvCxnSpPr>
        <p:spPr bwMode="gray">
          <a:xfrm>
            <a:off x="6240463" y="651016"/>
            <a:ext cx="5472113" cy="0"/>
          </a:xfrm>
          <a:prstGeom prst="line">
            <a:avLst/>
          </a:prstGeom>
          <a:noFill/>
          <a:ln w="6350" cap="flat">
            <a:solidFill>
              <a:srgbClr val="2F4D72"/>
            </a:solidFill>
            <a:prstDash val="solid"/>
            <a:miter/>
          </a:ln>
        </p:spPr>
      </p:cxnSp>
      <p:sp>
        <p:nvSpPr>
          <p:cNvPr id="13" name="Textfeld 12">
            <a:extLst>
              <a:ext uri="{FF2B5EF4-FFF2-40B4-BE49-F238E27FC236}">
                <a16:creationId xmlns:a16="http://schemas.microsoft.com/office/drawing/2014/main" id="{275ED778-F2F8-4622-906C-9805DB881A0C}"/>
              </a:ext>
            </a:extLst>
          </p:cNvPr>
          <p:cNvSpPr txBox="1"/>
          <p:nvPr userDrawn="1"/>
        </p:nvSpPr>
        <p:spPr bwMode="gray">
          <a:xfrm>
            <a:off x="11252200" y="6418362"/>
            <a:ext cx="460375" cy="153888"/>
          </a:xfrm>
          <a:prstGeom prst="rect">
            <a:avLst/>
          </a:prstGeom>
        </p:spPr>
        <p:txBody>
          <a:bodyPr wrap="squar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r" rtl="0"/>
            <a:fld id="{9CABAB34-EED9-4944-9833-2D0472E7C8C0}" type="slidenum">
              <a:rPr lang="de-DE" noProof="0" smtClean="0"/>
              <a:pPr lvl="0" algn="r" rtl="0"/>
              <a:t>‹Nr.›</a:t>
            </a:fld>
            <a:endParaRPr lang="de-DE" noProof="0" dirty="0"/>
          </a:p>
        </p:txBody>
      </p:sp>
      <p:sp>
        <p:nvSpPr>
          <p:cNvPr id="11" name="Textplatzhalter 2">
            <a:extLst>
              <a:ext uri="{FF2B5EF4-FFF2-40B4-BE49-F238E27FC236}">
                <a16:creationId xmlns:a16="http://schemas.microsoft.com/office/drawing/2014/main" id="{0515820E-F857-4B19-93B7-9FDE3F64BB97}"/>
              </a:ext>
            </a:extLst>
          </p:cNvPr>
          <p:cNvSpPr>
            <a:spLocks noGrp="1"/>
          </p:cNvSpPr>
          <p:nvPr>
            <p:ph type="body" sz="quarter" idx="12" hasCustomPrompt="1"/>
          </p:nvPr>
        </p:nvSpPr>
        <p:spPr>
          <a:xfrm>
            <a:off x="6240461" y="156260"/>
            <a:ext cx="5472114" cy="430887"/>
          </a:xfrm>
        </p:spPr>
        <p:txBody>
          <a:bodyPr wrap="square"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2441654"/>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orient="horz" pos="125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200439" y="211702"/>
            <a:ext cx="11791122" cy="643459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Tree>
    <p:extLst>
      <p:ext uri="{BB962C8B-B14F-4D97-AF65-F5344CB8AC3E}">
        <p14:creationId xmlns:p14="http://schemas.microsoft.com/office/powerpoint/2010/main" val="26814733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mit Headlin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620FCE-058D-49CE-B32D-3D4106022BA7}"/>
              </a:ext>
            </a:extLst>
          </p:cNvPr>
          <p:cNvGraphicFramePr>
            <a:graphicFrameLocks noChangeAspect="1"/>
          </p:cNvGraphicFramePr>
          <p:nvPr userDrawn="1">
            <p:custDataLst>
              <p:tags r:id="rId1"/>
            </p:custDataLst>
            <p:extLst>
              <p:ext uri="{D42A27DB-BD31-4B8C-83A1-F6EECF244321}">
                <p14:modId xmlns:p14="http://schemas.microsoft.com/office/powerpoint/2010/main" val="171889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CB620FCE-058D-49CE-B32D-3D4106022B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9" y="1628775"/>
            <a:ext cx="11791122" cy="5017521"/>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7" name="Textplatzhalter 2">
            <a:extLst>
              <a:ext uri="{FF2B5EF4-FFF2-40B4-BE49-F238E27FC236}">
                <a16:creationId xmlns:a16="http://schemas.microsoft.com/office/drawing/2014/main" id="{5C0C3B27-2859-4DC8-A140-5C945AC6E740}"/>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12482335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foli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8331A3B-A55C-45EB-BAEE-67A12C40B8EC}"/>
              </a:ext>
            </a:extLst>
          </p:cNvPr>
          <p:cNvGraphicFramePr>
            <a:graphicFrameLocks noChangeAspect="1"/>
          </p:cNvGraphicFramePr>
          <p:nvPr userDrawn="1">
            <p:custDataLst>
              <p:tags r:id="rId1"/>
            </p:custDataLst>
            <p:extLst>
              <p:ext uri="{D42A27DB-BD31-4B8C-83A1-F6EECF244321}">
                <p14:modId xmlns:p14="http://schemas.microsoft.com/office/powerpoint/2010/main" val="773324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28331A3B-A55C-45EB-BAEE-67A12C40B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9C7CB0C7-F5D2-4463-A173-5F754804B155}"/>
              </a:ext>
            </a:extLst>
          </p:cNvPr>
          <p:cNvSpPr/>
          <p:nvPr userDrawn="1"/>
        </p:nvSpPr>
        <p:spPr>
          <a:xfrm>
            <a:off x="200437" y="1070044"/>
            <a:ext cx="4809308" cy="38866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11" name="Bildplatzhalter 10">
            <a:extLst>
              <a:ext uri="{FF2B5EF4-FFF2-40B4-BE49-F238E27FC236}">
                <a16:creationId xmlns:a16="http://schemas.microsoft.com/office/drawing/2014/main" id="{62F4818C-D163-4B84-8DEF-E288276C2D7B}"/>
              </a:ext>
            </a:extLst>
          </p:cNvPr>
          <p:cNvSpPr>
            <a:spLocks noGrp="1"/>
          </p:cNvSpPr>
          <p:nvPr>
            <p:ph type="pic" sz="quarter" idx="14" hasCustomPrompt="1"/>
          </p:nvPr>
        </p:nvSpPr>
        <p:spPr bwMode="gray">
          <a:xfrm>
            <a:off x="200438" y="211702"/>
            <a:ext cx="11791121" cy="6434593"/>
          </a:xfrm>
          <a:custGeom>
            <a:avLst/>
            <a:gdLst>
              <a:gd name="connsiteX0" fmla="*/ 0 w 11791121"/>
              <a:gd name="connsiteY0" fmla="*/ 0 h 6434593"/>
              <a:gd name="connsiteX1" fmla="*/ 11791121 w 11791121"/>
              <a:gd name="connsiteY1" fmla="*/ 0 h 6434593"/>
              <a:gd name="connsiteX2" fmla="*/ 11791121 w 11791121"/>
              <a:gd name="connsiteY2" fmla="*/ 6434593 h 6434593"/>
              <a:gd name="connsiteX3" fmla="*/ 0 w 11791121"/>
              <a:gd name="connsiteY3" fmla="*/ 6434593 h 6434593"/>
              <a:gd name="connsiteX4" fmla="*/ 0 w 11791121"/>
              <a:gd name="connsiteY4" fmla="*/ 4645188 h 6434593"/>
              <a:gd name="connsiteX5" fmla="*/ 11599 w 11791121"/>
              <a:gd name="connsiteY5" fmla="*/ 4644764 h 6434593"/>
              <a:gd name="connsiteX6" fmla="*/ 3284778 w 11791121"/>
              <a:gd name="connsiteY6" fmla="*/ 4525507 h 6434593"/>
              <a:gd name="connsiteX7" fmla="*/ 3901828 w 11791121"/>
              <a:gd name="connsiteY7" fmla="*/ 4044782 h 6434593"/>
              <a:gd name="connsiteX8" fmla="*/ 4612155 w 11791121"/>
              <a:gd name="connsiteY8" fmla="*/ 1330578 h 6434593"/>
              <a:gd name="connsiteX9" fmla="*/ 4377006 w 11791121"/>
              <a:gd name="connsiteY9" fmla="*/ 958305 h 6434593"/>
              <a:gd name="connsiteX10" fmla="*/ 4288256 w 11791121"/>
              <a:gd name="connsiteY10" fmla="*/ 964653 h 6434593"/>
              <a:gd name="connsiteX11" fmla="*/ 336873 w 11791121"/>
              <a:gd name="connsiteY11" fmla="*/ 1622704 h 6434593"/>
              <a:gd name="connsiteX12" fmla="*/ 20448 w 11791121"/>
              <a:gd name="connsiteY12" fmla="*/ 1756646 h 6434593"/>
              <a:gd name="connsiteX13" fmla="*/ 0 w 11791121"/>
              <a:gd name="connsiteY13" fmla="*/ 177139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91121" h="6434593">
                <a:moveTo>
                  <a:pt x="0" y="0"/>
                </a:moveTo>
                <a:lnTo>
                  <a:pt x="11791121" y="0"/>
                </a:lnTo>
                <a:lnTo>
                  <a:pt x="11791121" y="6434593"/>
                </a:lnTo>
                <a:lnTo>
                  <a:pt x="0" y="6434593"/>
                </a:lnTo>
                <a:lnTo>
                  <a:pt x="0" y="4645188"/>
                </a:lnTo>
                <a:lnTo>
                  <a:pt x="11599" y="4644764"/>
                </a:lnTo>
                <a:cubicBezTo>
                  <a:pt x="1244017" y="4599639"/>
                  <a:pt x="3284778" y="4525507"/>
                  <a:pt x="3284778" y="4525507"/>
                </a:cubicBezTo>
                <a:cubicBezTo>
                  <a:pt x="3656854" y="4509107"/>
                  <a:pt x="3838279" y="4288731"/>
                  <a:pt x="3901828" y="4044782"/>
                </a:cubicBezTo>
                <a:cubicBezTo>
                  <a:pt x="3901828" y="4044782"/>
                  <a:pt x="4547580" y="1579653"/>
                  <a:pt x="4612155" y="1330578"/>
                </a:cubicBezTo>
                <a:cubicBezTo>
                  <a:pt x="4670452" y="1104565"/>
                  <a:pt x="4571010" y="963307"/>
                  <a:pt x="4377006" y="958305"/>
                </a:cubicBezTo>
                <a:cubicBezTo>
                  <a:pt x="4349291" y="957589"/>
                  <a:pt x="4319646" y="959656"/>
                  <a:pt x="4288256" y="964653"/>
                </a:cubicBezTo>
                <a:cubicBezTo>
                  <a:pt x="4033028" y="1003603"/>
                  <a:pt x="602348" y="1550954"/>
                  <a:pt x="336873" y="1622704"/>
                </a:cubicBezTo>
                <a:cubicBezTo>
                  <a:pt x="216948" y="1654992"/>
                  <a:pt x="112590" y="1698233"/>
                  <a:pt x="20448" y="1756646"/>
                </a:cubicBezTo>
                <a:lnTo>
                  <a:pt x="0" y="177139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5" name="Textplatzhalter 4">
            <a:extLst>
              <a:ext uri="{FF2B5EF4-FFF2-40B4-BE49-F238E27FC236}">
                <a16:creationId xmlns:a16="http://schemas.microsoft.com/office/drawing/2014/main" id="{55DFD521-41B3-45E2-8B3A-5BB64D5E8109}"/>
              </a:ext>
            </a:extLst>
          </p:cNvPr>
          <p:cNvSpPr>
            <a:spLocks noGrp="1"/>
          </p:cNvSpPr>
          <p:nvPr>
            <p:ph type="body" sz="quarter" idx="17" hasCustomPrompt="1"/>
          </p:nvPr>
        </p:nvSpPr>
        <p:spPr bwMode="gray">
          <a:xfrm>
            <a:off x="479424" y="2248786"/>
            <a:ext cx="3528527" cy="1976400"/>
          </a:xfrm>
        </p:spPr>
        <p:txBody>
          <a:bodyPr anchor="ctr"/>
          <a:lstStyle>
            <a:lvl1pPr rtl="0">
              <a:lnSpc>
                <a:spcPct val="90000"/>
              </a:lnSpc>
              <a:defRPr sz="3600" b="0">
                <a:solidFill>
                  <a:schemeClr val="accent1"/>
                </a:solidFill>
              </a:defRPr>
            </a:lvl1pPr>
            <a:lvl2pPr rtl="0">
              <a:lnSpc>
                <a:spcPct val="90000"/>
              </a:lnSpc>
              <a:spcAft>
                <a:spcPts val="100"/>
              </a:spcAft>
              <a:defRPr>
                <a:solidFill>
                  <a:schemeClr val="bg1"/>
                </a:solidFill>
              </a:defRPr>
            </a:lvl2pPr>
          </a:lstStyle>
          <a:p>
            <a:pPr lvl="0"/>
            <a:r>
              <a:rPr lang="de-DE" noProof="0" dirty="0"/>
              <a:t>Kapitel 01,</a:t>
            </a:r>
            <a:br>
              <a:rPr lang="de-DE" noProof="0" dirty="0"/>
            </a:br>
            <a:r>
              <a:rPr lang="de-DE" noProof="0" dirty="0"/>
              <a:t>max. 2 Zeilen</a:t>
            </a:r>
          </a:p>
          <a:p>
            <a:pPr lvl="1"/>
            <a:r>
              <a:rPr lang="de-DE" noProof="0" dirty="0"/>
              <a:t>PT Sans, 16pt, max. 3 Zeilen</a:t>
            </a:r>
            <a:br>
              <a:rPr lang="de-DE" noProof="0" dirty="0"/>
            </a:br>
            <a:r>
              <a:rPr lang="de-DE" noProof="0" dirty="0" err="1"/>
              <a:t>Lorem</a:t>
            </a:r>
            <a:r>
              <a:rPr lang="de-DE" noProof="0" dirty="0"/>
              <a:t> </a:t>
            </a:r>
            <a:r>
              <a:rPr lang="de-DE" noProof="0" dirty="0" err="1"/>
              <a:t>ipsum</a:t>
            </a:r>
            <a:r>
              <a:rPr lang="de-DE" noProof="0" dirty="0"/>
              <a:t> </a:t>
            </a:r>
            <a:r>
              <a:rPr lang="de-DE" noProof="0" dirty="0" err="1"/>
              <a:t>dolor</a:t>
            </a:r>
            <a:r>
              <a:rPr lang="de-DE" noProof="0" dirty="0"/>
              <a:t> </a:t>
            </a:r>
            <a:r>
              <a:rPr lang="de-DE" noProof="0" dirty="0" err="1"/>
              <a:t>sit</a:t>
            </a:r>
            <a:r>
              <a:rPr lang="de-DE" noProof="0" dirty="0"/>
              <a:t> </a:t>
            </a:r>
            <a:r>
              <a:rPr lang="de-DE" noProof="0" dirty="0" err="1"/>
              <a:t>amet</a:t>
            </a:r>
            <a:r>
              <a:rPr lang="de-DE" noProof="0" dirty="0"/>
              <a:t> </a:t>
            </a:r>
            <a:r>
              <a:rPr lang="de-DE" noProof="0" dirty="0" err="1"/>
              <a:t>consectetuer</a:t>
            </a:r>
            <a:r>
              <a:rPr lang="de-DE" noProof="0" dirty="0"/>
              <a:t> </a:t>
            </a:r>
            <a:r>
              <a:rPr lang="de-DE" noProof="0" dirty="0" err="1"/>
              <a:t>adipiscing</a:t>
            </a:r>
            <a:r>
              <a:rPr lang="de-DE" noProof="0" dirty="0"/>
              <a:t> </a:t>
            </a:r>
            <a:r>
              <a:rPr lang="de-DE" noProof="0" dirty="0" err="1"/>
              <a:t>elit</a:t>
            </a:r>
            <a:r>
              <a:rPr lang="de-DE" noProof="0" dirty="0"/>
              <a:t>. </a:t>
            </a:r>
          </a:p>
        </p:txBody>
      </p:sp>
    </p:spTree>
    <p:extLst>
      <p:ext uri="{BB962C8B-B14F-4D97-AF65-F5344CB8AC3E}">
        <p14:creationId xmlns:p14="http://schemas.microsoft.com/office/powerpoint/2010/main" val="28340327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ob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775A9F-ED78-4A86-8A2D-1403D2847546}"/>
              </a:ext>
            </a:extLst>
          </p:cNvPr>
          <p:cNvGraphicFramePr>
            <a:graphicFrameLocks noChangeAspect="1"/>
          </p:cNvGraphicFramePr>
          <p:nvPr userDrawn="1">
            <p:custDataLst>
              <p:tags r:id="rId1"/>
            </p:custDataLst>
            <p:extLst>
              <p:ext uri="{D42A27DB-BD31-4B8C-83A1-F6EECF244321}">
                <p14:modId xmlns:p14="http://schemas.microsoft.com/office/powerpoint/2010/main" val="54435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4B775A9F-ED78-4A86-8A2D-1403D2847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8" y="211702"/>
            <a:ext cx="11791122" cy="3628800"/>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4657741"/>
            <a:ext cx="11233150" cy="443198"/>
          </a:xfrm>
        </p:spPr>
        <p:txBody>
          <a:bodyPr vert="horz"/>
          <a:lstStyle>
            <a:lvl1pPr rtl="0">
              <a:defRPr/>
            </a:lvl1pPr>
          </a:lstStyle>
          <a:p>
            <a:r>
              <a:rPr lang="de-DE" noProof="0" dirty="0"/>
              <a:t>Headline, PT Sans, 32 </a:t>
            </a:r>
            <a:r>
              <a:rPr lang="de-DE" noProof="0" dirty="0" err="1"/>
              <a:t>pt</a:t>
            </a:r>
            <a:endParaRPr lang="de-DE" noProof="0" dirty="0"/>
          </a:p>
        </p:txBody>
      </p:sp>
      <p:cxnSp>
        <p:nvCxnSpPr>
          <p:cNvPr id="6" name="Gerader Verbinder 5">
            <a:extLst>
              <a:ext uri="{FF2B5EF4-FFF2-40B4-BE49-F238E27FC236}">
                <a16:creationId xmlns:a16="http://schemas.microsoft.com/office/drawing/2014/main" id="{1D5D8701-14A1-4FDC-8292-45F87C5FCACE}"/>
              </a:ext>
            </a:extLst>
          </p:cNvPr>
          <p:cNvCxnSpPr>
            <a:cxnSpLocks/>
          </p:cNvCxnSpPr>
          <p:nvPr userDrawn="1"/>
        </p:nvCxnSpPr>
        <p:spPr bwMode="gray">
          <a:xfrm>
            <a:off x="479425" y="4572304"/>
            <a:ext cx="11233150" cy="0"/>
          </a:xfrm>
          <a:prstGeom prst="line">
            <a:avLst/>
          </a:prstGeom>
          <a:noFill/>
          <a:ln w="6350" cap="flat">
            <a:solidFill>
              <a:srgbClr val="2F4D72"/>
            </a:solidFill>
            <a:prstDash val="solid"/>
            <a:miter/>
          </a:ln>
        </p:spPr>
      </p:cxnSp>
      <p:sp>
        <p:nvSpPr>
          <p:cNvPr id="7" name="Textplatzhalter 6">
            <a:extLst>
              <a:ext uri="{FF2B5EF4-FFF2-40B4-BE49-F238E27FC236}">
                <a16:creationId xmlns:a16="http://schemas.microsoft.com/office/drawing/2014/main" id="{28D1346D-ED76-4A18-B8B5-D24CB58AF626}"/>
              </a:ext>
            </a:extLst>
          </p:cNvPr>
          <p:cNvSpPr>
            <a:spLocks noGrp="1"/>
          </p:cNvSpPr>
          <p:nvPr>
            <p:ph type="body" sz="quarter" idx="12" hasCustomPrompt="1"/>
          </p:nvPr>
        </p:nvSpPr>
        <p:spPr bwMode="gray">
          <a:xfrm>
            <a:off x="479425" y="5354161"/>
            <a:ext cx="11233149" cy="738664"/>
          </a:xfrm>
        </p:spPr>
        <p:txBody>
          <a:bodyPr/>
          <a:lstStyle>
            <a:lvl1pPr rtl="0">
              <a:defRPr/>
            </a:lvl1pPr>
            <a:lvl2pPr rtl="0">
              <a:defRPr/>
            </a:lvl2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64523F55-AB86-48AA-9220-67566EF4D13F}"/>
              </a:ext>
            </a:extLst>
          </p:cNvPr>
          <p:cNvSpPr>
            <a:spLocks noGrp="1"/>
          </p:cNvSpPr>
          <p:nvPr>
            <p:ph type="body" sz="quarter" idx="13" hasCustomPrompt="1"/>
          </p:nvPr>
        </p:nvSpPr>
        <p:spPr>
          <a:xfrm>
            <a:off x="479425" y="4074085"/>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372372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oben w/o Toplin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A298B5A-E311-4ADE-8FD7-6130EFC66EA7}"/>
              </a:ext>
            </a:extLst>
          </p:cNvPr>
          <p:cNvGraphicFramePr>
            <a:graphicFrameLocks noChangeAspect="1"/>
          </p:cNvGraphicFramePr>
          <p:nvPr userDrawn="1">
            <p:custDataLst>
              <p:tags r:id="rId1"/>
            </p:custDataLst>
            <p:extLst>
              <p:ext uri="{D42A27DB-BD31-4B8C-83A1-F6EECF244321}">
                <p14:modId xmlns:p14="http://schemas.microsoft.com/office/powerpoint/2010/main" val="170404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AA298B5A-E311-4ADE-8FD7-6130EFC66E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8" y="211702"/>
            <a:ext cx="11791122" cy="3628800"/>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4074085"/>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7" name="Textplatzhalter 6">
            <a:extLst>
              <a:ext uri="{FF2B5EF4-FFF2-40B4-BE49-F238E27FC236}">
                <a16:creationId xmlns:a16="http://schemas.microsoft.com/office/drawing/2014/main" id="{28D1346D-ED76-4A18-B8B5-D24CB58AF626}"/>
              </a:ext>
            </a:extLst>
          </p:cNvPr>
          <p:cNvSpPr>
            <a:spLocks noGrp="1"/>
          </p:cNvSpPr>
          <p:nvPr>
            <p:ph type="body" sz="quarter" idx="12" hasCustomPrompt="1"/>
          </p:nvPr>
        </p:nvSpPr>
        <p:spPr bwMode="gray">
          <a:xfrm>
            <a:off x="479425" y="4727643"/>
            <a:ext cx="11233149" cy="1365182"/>
          </a:xfrm>
        </p:spPr>
        <p:txBody>
          <a:bodyPr/>
          <a:lstStyle>
            <a:lvl1pPr rtl="0">
              <a:defRPr/>
            </a:lvl1pPr>
            <a:lvl2pPr rtl="0">
              <a:defRPr/>
            </a:lvl2pPr>
            <a:lvl3pPr rtl="0">
              <a:defRPr/>
            </a:lvl3pPr>
            <a:lvl4pPr rtl="0">
              <a:defRPr/>
            </a:lvl4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p:txBody>
      </p:sp>
    </p:spTree>
    <p:extLst>
      <p:ext uri="{BB962C8B-B14F-4D97-AF65-F5344CB8AC3E}">
        <p14:creationId xmlns:p14="http://schemas.microsoft.com/office/powerpoint/2010/main" val="153252287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Logo wei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FD6202-36F7-4094-8992-4EB845450B57}"/>
              </a:ext>
            </a:extLst>
          </p:cNvPr>
          <p:cNvGraphicFramePr>
            <a:graphicFrameLocks noChangeAspect="1"/>
          </p:cNvGraphicFramePr>
          <p:nvPr userDrawn="1">
            <p:custDataLst>
              <p:tags r:id="rId1"/>
            </p:custDataLst>
            <p:extLst>
              <p:ext uri="{D42A27DB-BD31-4B8C-83A1-F6EECF244321}">
                <p14:modId xmlns:p14="http://schemas.microsoft.com/office/powerpoint/2010/main" val="76573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3FD6202-36F7-4094-8992-4EB84545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C981FB6B-D507-4213-824B-18B17512BA73}"/>
              </a:ext>
            </a:extLst>
          </p:cNvPr>
          <p:cNvSpPr/>
          <p:nvPr userDrawn="1"/>
        </p:nvSpPr>
        <p:spPr>
          <a:xfrm>
            <a:off x="200437" y="1831107"/>
            <a:ext cx="6677018" cy="48151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13" name="Bildplatzhalter 12">
            <a:extLst>
              <a:ext uri="{FF2B5EF4-FFF2-40B4-BE49-F238E27FC236}">
                <a16:creationId xmlns:a16="http://schemas.microsoft.com/office/drawing/2014/main" id="{EC606F1D-77B6-4ACE-B679-DF41E6C37F4B}"/>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5070577 w 11791121"/>
              <a:gd name="connsiteY12" fmla="*/ 6434593 h 6434593"/>
              <a:gd name="connsiteX13" fmla="*/ 5176620 w 11791121"/>
              <a:gd name="connsiteY13" fmla="*/ 6383214 h 6434593"/>
              <a:gd name="connsiteX14" fmla="*/ 5529571 w 11791121"/>
              <a:gd name="connsiteY14" fmla="*/ 5888242 h 6434593"/>
              <a:gd name="connsiteX15" fmla="*/ 6441050 w 11791121"/>
              <a:gd name="connsiteY15" fmla="*/ 2405411 h 6434593"/>
              <a:gd name="connsiteX16" fmla="*/ 6139310 w 11791121"/>
              <a:gd name="connsiteY16" fmla="*/ 1927714 h 6434593"/>
              <a:gd name="connsiteX17" fmla="*/ 6025426 w 11791121"/>
              <a:gd name="connsiteY17" fmla="*/ 1935861 h 6434593"/>
              <a:gd name="connsiteX18" fmla="*/ 955068 w 11791121"/>
              <a:gd name="connsiteY18" fmla="*/ 2780263 h 6434593"/>
              <a:gd name="connsiteX19" fmla="*/ 68578 w 11791121"/>
              <a:gd name="connsiteY19" fmla="*/ 3514183 h 6434593"/>
              <a:gd name="connsiteX20" fmla="*/ 36064 w 11791121"/>
              <a:gd name="connsiteY20" fmla="*/ 3582576 h 6434593"/>
              <a:gd name="connsiteX21" fmla="*/ 0 w 11791121"/>
              <a:gd name="connsiteY21" fmla="*/ 366440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5070577" y="6434593"/>
                </a:lnTo>
                <a:lnTo>
                  <a:pt x="5176620" y="6383214"/>
                </a:lnTo>
                <a:cubicBezTo>
                  <a:pt x="5368553" y="6267717"/>
                  <a:pt x="5478604" y="6083888"/>
                  <a:pt x="5529571" y="5888242"/>
                </a:cubicBezTo>
                <a:cubicBezTo>
                  <a:pt x="5529571" y="5888242"/>
                  <a:pt x="6358189" y="2725022"/>
                  <a:pt x="6441050" y="2405411"/>
                </a:cubicBezTo>
                <a:cubicBezTo>
                  <a:pt x="6515856" y="2115394"/>
                  <a:pt x="6388254" y="1934133"/>
                  <a:pt x="6139310" y="1927714"/>
                </a:cubicBezTo>
                <a:cubicBezTo>
                  <a:pt x="6103747" y="1926798"/>
                  <a:pt x="6065707" y="1929449"/>
                  <a:pt x="6025426" y="1935861"/>
                </a:cubicBezTo>
                <a:cubicBezTo>
                  <a:pt x="5697924" y="1985842"/>
                  <a:pt x="1295722" y="2688195"/>
                  <a:pt x="955068" y="2780263"/>
                </a:cubicBezTo>
                <a:cubicBezTo>
                  <a:pt x="544705" y="2890746"/>
                  <a:pt x="276390" y="3101188"/>
                  <a:pt x="68578" y="3514183"/>
                </a:cubicBezTo>
                <a:cubicBezTo>
                  <a:pt x="58836" y="3533542"/>
                  <a:pt x="47959" y="3556456"/>
                  <a:pt x="36064" y="3582576"/>
                </a:cubicBezTo>
                <a:lnTo>
                  <a:pt x="0" y="366440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745185" y="3805389"/>
            <a:ext cx="5094302" cy="993092"/>
          </a:xfrm>
        </p:spPr>
        <p:txBody>
          <a:bodyPr vert="horz" anchor="b">
            <a:normAutofit/>
          </a:bodyPr>
          <a:lstStyle>
            <a:lvl1pPr algn="l" rtl="0">
              <a:lnSpc>
                <a:spcPct val="80000"/>
              </a:lnSpc>
              <a:defRPr sz="4000" b="1">
                <a:solidFill>
                  <a:schemeClr val="accent1"/>
                </a:solidFill>
              </a:defRPr>
            </a:lvl1pPr>
          </a:lstStyle>
          <a:p>
            <a:r>
              <a:rPr lang="de-DE" noProof="0" dirty="0"/>
              <a:t>Titel der Präsentation,</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745183" y="4841551"/>
            <a:ext cx="5094301" cy="615553"/>
          </a:xfrm>
        </p:spPr>
        <p:txBody>
          <a:bodyPr>
            <a:noAutofit/>
          </a:bodyPr>
          <a:lstStyle>
            <a:lvl1pPr marL="0" indent="0" algn="l" rtl="0">
              <a:spcAft>
                <a:spcPts val="0"/>
              </a:spcAft>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745184" y="5851632"/>
            <a:ext cx="3320978" cy="369332"/>
          </a:xfrm>
        </p:spPr>
        <p:txBody>
          <a:bodyPr wrap="square">
            <a:noAutofit/>
          </a:bodyPr>
          <a:lstStyle>
            <a:lvl1pPr rtl="0">
              <a:spcAft>
                <a:spcPts val="0"/>
              </a:spcAft>
              <a:defRPr sz="1200" b="0">
                <a:solidFill>
                  <a:schemeClr val="bg1"/>
                </a:solidFill>
              </a:defRPr>
            </a:lvl1pPr>
          </a:lstStyle>
          <a:p>
            <a:pPr lvl="0"/>
            <a:r>
              <a:rPr lang="de-DE" noProof="0" dirty="0"/>
              <a:t>Name, Abteilung</a:t>
            </a:r>
          </a:p>
          <a:p>
            <a:pPr lvl="0"/>
            <a:r>
              <a:rPr lang="de-DE" noProof="0" dirty="0"/>
              <a:t>Ort, Datum</a:t>
            </a:r>
          </a:p>
        </p:txBody>
      </p:sp>
      <p:sp>
        <p:nvSpPr>
          <p:cNvPr id="12" name="Freihandform: Form 11">
            <a:extLst>
              <a:ext uri="{FF2B5EF4-FFF2-40B4-BE49-F238E27FC236}">
                <a16:creationId xmlns:a16="http://schemas.microsoft.com/office/drawing/2014/main" id="{9D7E1AF7-1BA0-4574-BB3F-D43E3176C63B}"/>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3113867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F92421B-EF6A-44D9-A85C-C5E6F2918E05}"/>
              </a:ext>
            </a:extLst>
          </p:cNvPr>
          <p:cNvGraphicFramePr>
            <a:graphicFrameLocks noChangeAspect="1"/>
          </p:cNvGraphicFramePr>
          <p:nvPr userDrawn="1">
            <p:custDataLst>
              <p:tags r:id="rId1"/>
            </p:custDataLst>
            <p:extLst>
              <p:ext uri="{D42A27DB-BD31-4B8C-83A1-F6EECF244321}">
                <p14:modId xmlns:p14="http://schemas.microsoft.com/office/powerpoint/2010/main" val="1376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2F92421B-EF6A-44D9-A85C-C5E6F2918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9" y="3033713"/>
            <a:ext cx="11791122" cy="361188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6" name="Textplatzhalter 5">
            <a:extLst>
              <a:ext uri="{FF2B5EF4-FFF2-40B4-BE49-F238E27FC236}">
                <a16:creationId xmlns:a16="http://schemas.microsoft.com/office/drawing/2014/main" id="{B603CA65-3897-4F2C-B57C-CE1CC9AC6AC6}"/>
              </a:ext>
            </a:extLst>
          </p:cNvPr>
          <p:cNvSpPr>
            <a:spLocks noGrp="1"/>
          </p:cNvSpPr>
          <p:nvPr>
            <p:ph type="body" sz="quarter" idx="12" hasCustomPrompt="1"/>
          </p:nvPr>
        </p:nvSpPr>
        <p:spPr bwMode="gray">
          <a:xfrm>
            <a:off x="479425" y="1628775"/>
            <a:ext cx="11233150" cy="1116013"/>
          </a:xfrm>
        </p:spPr>
        <p:txBody>
          <a:bodyPr/>
          <a:lstStyle>
            <a:lvl1pPr rtl="0">
              <a:defRPr/>
            </a:lvl1pPr>
            <a:lvl2pPr rtl="0">
              <a:defRPr/>
            </a:lvl2pPr>
            <a:lvl3pPr rtl="0">
              <a:defRPr/>
            </a:lvl3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D24C9ED1-541A-43F7-B3C7-0D315A80BDE4}"/>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294656947"/>
      </p:ext>
    </p:extLst>
  </p:cSld>
  <p:clrMapOvr>
    <a:masterClrMapping/>
  </p:clrMapOvr>
  <p:extLst>
    <p:ext uri="{DCECCB84-F9BA-43D5-87BE-67443E8EF086}">
      <p15:sldGuideLst xmlns:p15="http://schemas.microsoft.com/office/powerpoint/2012/main">
        <p15:guide id="2" orient="horz" pos="173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ragen und Ansprechpartner">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2478776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Freihandform: Form 19">
            <a:extLst>
              <a:ext uri="{FF2B5EF4-FFF2-40B4-BE49-F238E27FC236}">
                <a16:creationId xmlns:a16="http://schemas.microsoft.com/office/drawing/2014/main" id="{B8D31B4D-04C4-41BC-AD10-705DEFBC0106}"/>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5" name="Bildplatzhalter 14">
            <a:extLst>
              <a:ext uri="{FF2B5EF4-FFF2-40B4-BE49-F238E27FC236}">
                <a16:creationId xmlns:a16="http://schemas.microsoft.com/office/drawing/2014/main" id="{AF22BA67-763D-43EA-AA83-2A30A79049E5}"/>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212807"/>
            <a:ext cx="4837814" cy="450573"/>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Haben Sie noch Frag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4" y="4775921"/>
            <a:ext cx="4837813"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Ihr persönlicher Ansprechpartner </a:t>
            </a:r>
            <a:br>
              <a:rPr lang="de-DE" noProof="0" dirty="0"/>
            </a:br>
            <a:r>
              <a:rPr lang="de-DE" noProof="0" dirty="0"/>
              <a:t>steht ihnen sehr gerne zur Verfügung.</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5" y="5521076"/>
            <a:ext cx="4837813" cy="553998"/>
          </a:xfrm>
        </p:spPr>
        <p:txBody>
          <a:bodyPr>
            <a:noAutofit/>
          </a:bodyPr>
          <a:lstStyle>
            <a:lvl1pPr rtl="0">
              <a:spcBef>
                <a:spcPts val="0"/>
              </a:spcBef>
              <a:spcAft>
                <a:spcPts val="0"/>
              </a:spcAft>
              <a:defRPr sz="1200" b="0">
                <a:solidFill>
                  <a:schemeClr val="bg1"/>
                </a:solidFill>
              </a:defRPr>
            </a:lvl1pPr>
          </a:lstStyle>
          <a:p>
            <a:pPr lvl="0"/>
            <a:r>
              <a:rPr lang="de-DE" noProof="0" dirty="0"/>
              <a:t>Informationen über die einfache und schnelle Anbindung </a:t>
            </a:r>
            <a:br>
              <a:rPr lang="de-DE" noProof="0" dirty="0"/>
            </a:br>
            <a:r>
              <a:rPr lang="de-DE" noProof="0" dirty="0"/>
              <a:t>als Makler bei der Fonds Finanz finden Sie unter </a:t>
            </a:r>
            <a:br>
              <a:rPr lang="de-DE" noProof="0" dirty="0"/>
            </a:br>
            <a:r>
              <a:rPr lang="de-DE" noProof="0" dirty="0"/>
              <a:t>www.fondsfinanz.de/meine-fonds-finanz/anbindung </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3341247470"/>
      </p:ext>
    </p:extLst>
  </p:cSld>
  <p:clrMapOvr>
    <a:masterClrMapping/>
  </p:clrMapOvr>
  <p:extLst>
    <p:ext uri="{DCECCB84-F9BA-43D5-87BE-67443E8EF086}">
      <p15:sldGuideLst xmlns:p15="http://schemas.microsoft.com/office/powerpoint/2012/main">
        <p15:guide id="1" pos="370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ragen und Ansprechpartner Logo weiß">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185429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2" name="Bildplatzhalter 11">
            <a:extLst>
              <a:ext uri="{FF2B5EF4-FFF2-40B4-BE49-F238E27FC236}">
                <a16:creationId xmlns:a16="http://schemas.microsoft.com/office/drawing/2014/main" id="{58F47DBE-6B1E-4273-AFF2-5A76F3D999D0}"/>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212807"/>
            <a:ext cx="4837817" cy="450573"/>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Haben Sie noch Frag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4" y="4775921"/>
            <a:ext cx="4837816"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Ihr persönlicher Ansprechpartner </a:t>
            </a:r>
            <a:br>
              <a:rPr lang="de-DE" noProof="0" dirty="0"/>
            </a:br>
            <a:r>
              <a:rPr lang="de-DE" noProof="0" dirty="0"/>
              <a:t>steht ihnen sehr gerne zur Verfügung.</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521076"/>
            <a:ext cx="4837816" cy="553998"/>
          </a:xfrm>
        </p:spPr>
        <p:txBody>
          <a:bodyPr>
            <a:noAutofit/>
          </a:bodyPr>
          <a:lstStyle>
            <a:lvl1pPr rtl="0">
              <a:spcBef>
                <a:spcPts val="0"/>
              </a:spcBef>
              <a:spcAft>
                <a:spcPts val="0"/>
              </a:spcAft>
              <a:defRPr sz="1200" b="0">
                <a:solidFill>
                  <a:schemeClr val="bg1"/>
                </a:solidFill>
              </a:defRPr>
            </a:lvl1pPr>
          </a:lstStyle>
          <a:p>
            <a:pPr lvl="0"/>
            <a:r>
              <a:rPr lang="de-DE" noProof="0" dirty="0"/>
              <a:t>Informationen über die einfache und schnelle Anbindung </a:t>
            </a:r>
            <a:br>
              <a:rPr lang="de-DE" noProof="0" dirty="0"/>
            </a:br>
            <a:r>
              <a:rPr lang="de-DE" noProof="0" dirty="0"/>
              <a:t>als Makler bei der Fonds Finanz finden Sie unter </a:t>
            </a:r>
            <a:br>
              <a:rPr lang="de-DE" noProof="0" dirty="0"/>
            </a:br>
            <a:r>
              <a:rPr lang="de-DE" noProof="0" dirty="0"/>
              <a:t>www.fondsfinanz.de/meine-fonds-finanz/anbindung</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271016250"/>
      </p:ext>
    </p:extLst>
  </p:cSld>
  <p:clrMapOvr>
    <a:masterClrMapping/>
  </p:clrMapOvr>
  <p:extLst>
    <p:ext uri="{DCECCB84-F9BA-43D5-87BE-67443E8EF086}">
      <p15:sldGuideLst xmlns:p15="http://schemas.microsoft.com/office/powerpoint/2012/main">
        <p15:guide id="1" pos="370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chlussfolie ">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3756624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4" name="Bildplatzhalter 13">
            <a:extLst>
              <a:ext uri="{FF2B5EF4-FFF2-40B4-BE49-F238E27FC236}">
                <a16:creationId xmlns:a16="http://schemas.microsoft.com/office/drawing/2014/main" id="{2F9C7F57-C5DA-438B-98AD-BDE6CF7FE9FF}"/>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0" name="Freihandform: Form 19">
            <a:extLst>
              <a:ext uri="{FF2B5EF4-FFF2-40B4-BE49-F238E27FC236}">
                <a16:creationId xmlns:a16="http://schemas.microsoft.com/office/drawing/2014/main" id="{B8D31B4D-04C4-41BC-AD10-705DEFBC0106}"/>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182990"/>
            <a:ext cx="4332989" cy="893771"/>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Schlussformulierung,</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5" y="5177005"/>
            <a:ext cx="4332988"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903220"/>
            <a:ext cx="4332988" cy="184666"/>
          </a:xfrm>
        </p:spPr>
        <p:txBody>
          <a:bodyPr>
            <a:noAutofit/>
          </a:bodyPr>
          <a:lstStyle>
            <a:lvl1pPr rtl="0">
              <a:spcBef>
                <a:spcPts val="0"/>
              </a:spcBef>
              <a:spcAft>
                <a:spcPts val="0"/>
              </a:spcAft>
              <a:defRPr sz="1200" b="0">
                <a:solidFill>
                  <a:schemeClr val="bg1"/>
                </a:solidFill>
              </a:defRPr>
            </a:lvl1pPr>
          </a:lstStyle>
          <a:p>
            <a:pPr lvl="0"/>
            <a:r>
              <a:rPr lang="de-DE" noProof="0" dirty="0"/>
              <a:t>Name, Abteilung | Ort, Datum</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347910180"/>
      </p:ext>
    </p:extLst>
  </p:cSld>
  <p:clrMapOvr>
    <a:masterClrMapping/>
  </p:clrMapOvr>
  <p:extLst>
    <p:ext uri="{DCECCB84-F9BA-43D5-87BE-67443E8EF086}">
      <p15:sldGuideLst xmlns:p15="http://schemas.microsoft.com/office/powerpoint/2012/main">
        <p15:guide id="1" pos="3386"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chlussfolie Logo weiß">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260588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2" name="Bildplatzhalter 11">
            <a:extLst>
              <a:ext uri="{FF2B5EF4-FFF2-40B4-BE49-F238E27FC236}">
                <a16:creationId xmlns:a16="http://schemas.microsoft.com/office/drawing/2014/main" id="{4729B54F-BB09-4D20-A088-ACFFACA8D9A3}"/>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182990"/>
            <a:ext cx="4332989" cy="893771"/>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Schlussformulierung,</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5" y="5177005"/>
            <a:ext cx="4332988"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903220"/>
            <a:ext cx="4332988" cy="184666"/>
          </a:xfrm>
        </p:spPr>
        <p:txBody>
          <a:bodyPr>
            <a:noAutofit/>
          </a:bodyPr>
          <a:lstStyle>
            <a:lvl1pPr rtl="0">
              <a:spcBef>
                <a:spcPts val="0"/>
              </a:spcBef>
              <a:spcAft>
                <a:spcPts val="0"/>
              </a:spcAft>
              <a:defRPr sz="1200" b="0">
                <a:solidFill>
                  <a:schemeClr val="bg1"/>
                </a:solidFill>
              </a:defRPr>
            </a:lvl1pPr>
          </a:lstStyle>
          <a:p>
            <a:pPr lvl="0"/>
            <a:r>
              <a:rPr lang="de-DE" noProof="0" dirty="0"/>
              <a:t>Name, Abteilung | Ort, Datum</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006342446"/>
      </p:ext>
    </p:extLst>
  </p:cSld>
  <p:clrMapOvr>
    <a:masterClrMapping/>
  </p:clrMapOvr>
  <p:extLst>
    <p:ext uri="{DCECCB84-F9BA-43D5-87BE-67443E8EF086}">
      <p15:sldGuideLst xmlns:p15="http://schemas.microsoft.com/office/powerpoint/2012/main">
        <p15:guide id="1" pos="338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 Top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94971B2-B5F1-49A8-8123-95C5AB3DE9CD}"/>
              </a:ext>
            </a:extLst>
          </p:cNvPr>
          <p:cNvGraphicFramePr>
            <a:graphicFrameLocks noChangeAspect="1"/>
          </p:cNvGraphicFramePr>
          <p:nvPr userDrawn="1">
            <p:custDataLst>
              <p:tags r:id="rId1"/>
            </p:custDataLst>
            <p:extLst>
              <p:ext uri="{D42A27DB-BD31-4B8C-83A1-F6EECF244321}">
                <p14:modId xmlns:p14="http://schemas.microsoft.com/office/powerpoint/2010/main" val="141902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494971B2-B5F1-49A8-8123-95C5AB3DE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EA96E3C1-04A4-4296-B542-BED3C359A356}"/>
              </a:ext>
            </a:extLst>
          </p:cNvPr>
          <p:cNvSpPr>
            <a:spLocks noGrp="1"/>
          </p:cNvSpPr>
          <p:nvPr>
            <p:ph type="title" hasCustomPrompt="1"/>
          </p:nvPr>
        </p:nvSpPr>
        <p:spPr/>
        <p:txBody>
          <a:bodyPr vert="horz"/>
          <a:lstStyle/>
          <a:p>
            <a:r>
              <a:rPr lang="de-DE"/>
              <a:t>Headline, PT Sans, 32 pt</a:t>
            </a:r>
            <a:endParaRPr lang="de-DE" dirty="0"/>
          </a:p>
        </p:txBody>
      </p:sp>
      <p:sp>
        <p:nvSpPr>
          <p:cNvPr id="8" name="Textplatzhalter 2">
            <a:extLst>
              <a:ext uri="{FF2B5EF4-FFF2-40B4-BE49-F238E27FC236}">
                <a16:creationId xmlns:a16="http://schemas.microsoft.com/office/drawing/2014/main" id="{8D784400-AA91-4681-98B9-E68A8CB83D92}"/>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200188421"/>
      </p:ext>
    </p:extLst>
  </p:cSld>
  <p:clrMapOvr>
    <a:masterClrMapping/>
  </p:clrMapOvr>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7" name="Objekt 36" hidden="1">
            <a:extLst>
              <a:ext uri="{FF2B5EF4-FFF2-40B4-BE49-F238E27FC236}">
                <a16:creationId xmlns:a16="http://schemas.microsoft.com/office/drawing/2014/main" id="{2718C1B8-1E1E-4C0C-BD59-A98CD2453E36}"/>
              </a:ext>
            </a:extLst>
          </p:cNvPr>
          <p:cNvGraphicFramePr>
            <a:graphicFrameLocks noChangeAspect="1"/>
          </p:cNvGraphicFramePr>
          <p:nvPr userDrawn="1">
            <p:custDataLst>
              <p:tags r:id="rId1"/>
            </p:custDataLst>
            <p:extLst>
              <p:ext uri="{D42A27DB-BD31-4B8C-83A1-F6EECF244321}">
                <p14:modId xmlns:p14="http://schemas.microsoft.com/office/powerpoint/2010/main" val="18156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7" name="Objekt 36" hidden="1">
                        <a:extLst>
                          <a:ext uri="{FF2B5EF4-FFF2-40B4-BE49-F238E27FC236}">
                            <a16:creationId xmlns:a16="http://schemas.microsoft.com/office/drawing/2014/main" id="{2718C1B8-1E1E-4C0C-BD59-A98CD2453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569C5103-F38E-4413-AAC1-87B904723346}"/>
              </a:ext>
            </a:extLst>
          </p:cNvPr>
          <p:cNvSpPr>
            <a:spLocks noGrp="1"/>
          </p:cNvSpPr>
          <p:nvPr>
            <p:ph type="body" sz="quarter" idx="11" hasCustomPrompt="1"/>
          </p:nvPr>
        </p:nvSpPr>
        <p:spPr>
          <a:xfrm>
            <a:off x="479425" y="1628773"/>
            <a:ext cx="576000" cy="982800"/>
          </a:xfrm>
        </p:spPr>
        <p:txBody>
          <a:bodyPr anchor="ctr"/>
          <a:lstStyle>
            <a:lvl1pPr rtl="0">
              <a:spcAft>
                <a:spcPts val="0"/>
              </a:spcAft>
              <a:defRPr sz="4000" b="0">
                <a:solidFill>
                  <a:schemeClr val="tx1"/>
                </a:solidFill>
              </a:defRPr>
            </a:lvl1pPr>
          </a:lstStyle>
          <a:p>
            <a:pPr lvl="0"/>
            <a:r>
              <a:rPr lang="de-DE" dirty="0"/>
              <a:t>01</a:t>
            </a:r>
          </a:p>
        </p:txBody>
      </p:sp>
      <p:sp>
        <p:nvSpPr>
          <p:cNvPr id="7" name="Textplatzhalter 6">
            <a:extLst>
              <a:ext uri="{FF2B5EF4-FFF2-40B4-BE49-F238E27FC236}">
                <a16:creationId xmlns:a16="http://schemas.microsoft.com/office/drawing/2014/main" id="{059DEF56-14CF-449A-94AD-85B75CA3CE0D}"/>
              </a:ext>
            </a:extLst>
          </p:cNvPr>
          <p:cNvSpPr>
            <a:spLocks noGrp="1"/>
          </p:cNvSpPr>
          <p:nvPr>
            <p:ph type="body" sz="quarter" idx="12" hasCustomPrompt="1"/>
          </p:nvPr>
        </p:nvSpPr>
        <p:spPr>
          <a:xfrm>
            <a:off x="1318867" y="1628773"/>
            <a:ext cx="1370824" cy="982800"/>
          </a:xfrm>
        </p:spPr>
        <p:txBody>
          <a:bodyPr anchor="ctr"/>
          <a:lstStyle>
            <a:lvl1pPr rtl="0">
              <a:spcAft>
                <a:spcPts val="0"/>
              </a:spcAft>
              <a:defRPr sz="1400">
                <a:solidFill>
                  <a:schemeClr val="tx1"/>
                </a:solidFill>
              </a:defRPr>
            </a:lvl1pPr>
          </a:lstStyle>
          <a:p>
            <a:pPr lvl="0"/>
            <a:r>
              <a:rPr lang="de-DE" dirty="0"/>
              <a:t>Kapitel 1</a:t>
            </a:r>
          </a:p>
        </p:txBody>
      </p:sp>
      <p:sp>
        <p:nvSpPr>
          <p:cNvPr id="9" name="Textplatzhalter 8">
            <a:extLst>
              <a:ext uri="{FF2B5EF4-FFF2-40B4-BE49-F238E27FC236}">
                <a16:creationId xmlns:a16="http://schemas.microsoft.com/office/drawing/2014/main" id="{F52A141B-2233-4A9B-99C4-AD50E3FD1EB5}"/>
              </a:ext>
            </a:extLst>
          </p:cNvPr>
          <p:cNvSpPr>
            <a:spLocks noGrp="1"/>
          </p:cNvSpPr>
          <p:nvPr>
            <p:ph type="body" sz="quarter" idx="13" hasCustomPrompt="1"/>
          </p:nvPr>
        </p:nvSpPr>
        <p:spPr bwMode="gray">
          <a:xfrm>
            <a:off x="2953133" y="1628773"/>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1005840"/>
              <a:gd name="connsiteY0" fmla="*/ 0 h 982800"/>
              <a:gd name="connsiteX1" fmla="*/ 0 w 1005840"/>
              <a:gd name="connsiteY1" fmla="*/ 982800 h 982800"/>
              <a:gd name="connsiteX2" fmla="*/ 0 w 1005840"/>
              <a:gd name="connsiteY2" fmla="*/ 0 h 982800"/>
              <a:gd name="connsiteX3" fmla="*/ 1005840 w 1005840"/>
              <a:gd name="connsiteY3" fmla="*/ 91440 h 982800"/>
              <a:gd name="connsiteX0" fmla="*/ 914400 w 914400"/>
              <a:gd name="connsiteY0" fmla="*/ 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11" name="Textplatzhalter 10">
            <a:extLst>
              <a:ext uri="{FF2B5EF4-FFF2-40B4-BE49-F238E27FC236}">
                <a16:creationId xmlns:a16="http://schemas.microsoft.com/office/drawing/2014/main" id="{418780CD-F0BF-4D27-A6C0-87778FF43934}"/>
              </a:ext>
            </a:extLst>
          </p:cNvPr>
          <p:cNvSpPr>
            <a:spLocks noGrp="1"/>
          </p:cNvSpPr>
          <p:nvPr>
            <p:ph type="body" sz="quarter" idx="14" hasCustomPrompt="1"/>
          </p:nvPr>
        </p:nvSpPr>
        <p:spPr>
          <a:xfrm>
            <a:off x="3216575" y="1628773"/>
            <a:ext cx="8496000" cy="982800"/>
          </a:xfrm>
        </p:spPr>
        <p:txBody>
          <a:bodyPr anchor="ctr"/>
          <a:lstStyle>
            <a:lvl1pPr rtl="0">
              <a:spcAft>
                <a:spcPts val="0"/>
              </a:spcAft>
              <a:defRPr sz="1400" b="0"/>
            </a:lvl1pPr>
          </a:lstStyle>
          <a:p>
            <a:pPr lvl="0"/>
            <a:r>
              <a:rPr lang="de-DE" dirty="0"/>
              <a:t>Kurze Beschreibung</a:t>
            </a:r>
          </a:p>
        </p:txBody>
      </p:sp>
      <p:sp>
        <p:nvSpPr>
          <p:cNvPr id="13" name="Textplatzhalter 12">
            <a:extLst>
              <a:ext uri="{FF2B5EF4-FFF2-40B4-BE49-F238E27FC236}">
                <a16:creationId xmlns:a16="http://schemas.microsoft.com/office/drawing/2014/main" id="{710B8462-7132-48D5-8BB8-C89F20A1158A}"/>
              </a:ext>
            </a:extLst>
          </p:cNvPr>
          <p:cNvSpPr>
            <a:spLocks noGrp="1"/>
          </p:cNvSpPr>
          <p:nvPr>
            <p:ph type="body" sz="quarter" idx="15" hasCustomPrompt="1"/>
          </p:nvPr>
        </p:nvSpPr>
        <p:spPr>
          <a:xfrm>
            <a:off x="479425" y="2789787"/>
            <a:ext cx="576000" cy="982800"/>
          </a:xfrm>
        </p:spPr>
        <p:txBody>
          <a:bodyPr anchor="ctr"/>
          <a:lstStyle>
            <a:lvl1pPr rtl="0">
              <a:spcAft>
                <a:spcPts val="0"/>
              </a:spcAft>
              <a:defRPr sz="4000" b="0">
                <a:solidFill>
                  <a:schemeClr val="tx1"/>
                </a:solidFill>
              </a:defRPr>
            </a:lvl1pPr>
          </a:lstStyle>
          <a:p>
            <a:pPr lvl="0"/>
            <a:r>
              <a:rPr lang="de-DE" dirty="0"/>
              <a:t>02</a:t>
            </a:r>
          </a:p>
        </p:txBody>
      </p:sp>
      <p:sp>
        <p:nvSpPr>
          <p:cNvPr id="15" name="Textplatzhalter 14">
            <a:extLst>
              <a:ext uri="{FF2B5EF4-FFF2-40B4-BE49-F238E27FC236}">
                <a16:creationId xmlns:a16="http://schemas.microsoft.com/office/drawing/2014/main" id="{65B1449D-B7ED-411F-9785-D2F1660F4759}"/>
              </a:ext>
            </a:extLst>
          </p:cNvPr>
          <p:cNvSpPr>
            <a:spLocks noGrp="1"/>
          </p:cNvSpPr>
          <p:nvPr>
            <p:ph type="body" sz="quarter" idx="16" hasCustomPrompt="1"/>
          </p:nvPr>
        </p:nvSpPr>
        <p:spPr>
          <a:xfrm>
            <a:off x="1318867" y="2789787"/>
            <a:ext cx="1370824" cy="982800"/>
          </a:xfrm>
        </p:spPr>
        <p:txBody>
          <a:bodyPr anchor="ctr"/>
          <a:lstStyle>
            <a:lvl1pPr rtl="0">
              <a:spcAft>
                <a:spcPts val="0"/>
              </a:spcAft>
              <a:defRPr sz="1400">
                <a:solidFill>
                  <a:schemeClr val="tx1"/>
                </a:solidFill>
              </a:defRPr>
            </a:lvl1pPr>
          </a:lstStyle>
          <a:p>
            <a:pPr lvl="0"/>
            <a:r>
              <a:rPr lang="de-DE" dirty="0"/>
              <a:t>Kapitel 2</a:t>
            </a:r>
          </a:p>
        </p:txBody>
      </p:sp>
      <p:sp>
        <p:nvSpPr>
          <p:cNvPr id="17" name="Textplatzhalter 16">
            <a:extLst>
              <a:ext uri="{FF2B5EF4-FFF2-40B4-BE49-F238E27FC236}">
                <a16:creationId xmlns:a16="http://schemas.microsoft.com/office/drawing/2014/main" id="{CD4C3BC5-184E-4930-8808-679E2194B209}"/>
              </a:ext>
            </a:extLst>
          </p:cNvPr>
          <p:cNvSpPr>
            <a:spLocks noGrp="1"/>
          </p:cNvSpPr>
          <p:nvPr>
            <p:ph type="body" sz="quarter" idx="17" hasCustomPrompt="1"/>
          </p:nvPr>
        </p:nvSpPr>
        <p:spPr bwMode="gray">
          <a:xfrm>
            <a:off x="2953133" y="2789787"/>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982800 h 1074240"/>
              <a:gd name="connsiteX1" fmla="*/ 0 w 1005840"/>
              <a:gd name="connsiteY1" fmla="*/ 982800 h 1074240"/>
              <a:gd name="connsiteX2" fmla="*/ 0 w 1005840"/>
              <a:gd name="connsiteY2" fmla="*/ 0 h 1074240"/>
              <a:gd name="connsiteX3" fmla="*/ 914400 w 1005840"/>
              <a:gd name="connsiteY3" fmla="*/ 0 h 1074240"/>
              <a:gd name="connsiteX4" fmla="*/ 1005840 w 1005840"/>
              <a:gd name="connsiteY4" fmla="*/ 1074240 h 1074240"/>
              <a:gd name="connsiteX0" fmla="*/ 914400 w 914400"/>
              <a:gd name="connsiteY0" fmla="*/ 982800 h 982800"/>
              <a:gd name="connsiteX1" fmla="*/ 0 w 914400"/>
              <a:gd name="connsiteY1" fmla="*/ 982800 h 982800"/>
              <a:gd name="connsiteX2" fmla="*/ 0 w 914400"/>
              <a:gd name="connsiteY2" fmla="*/ 0 h 982800"/>
              <a:gd name="connsiteX3" fmla="*/ 914400 w 914400"/>
              <a:gd name="connsiteY3" fmla="*/ 0 h 982800"/>
              <a:gd name="connsiteX0" fmla="*/ 0 w 914400"/>
              <a:gd name="connsiteY0" fmla="*/ 982800 h 982800"/>
              <a:gd name="connsiteX1" fmla="*/ 0 w 914400"/>
              <a:gd name="connsiteY1" fmla="*/ 0 h 982800"/>
              <a:gd name="connsiteX2" fmla="*/ 91440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19" name="Textplatzhalter 18">
            <a:extLst>
              <a:ext uri="{FF2B5EF4-FFF2-40B4-BE49-F238E27FC236}">
                <a16:creationId xmlns:a16="http://schemas.microsoft.com/office/drawing/2014/main" id="{EF22F542-75A0-4EDD-87E0-CF155EE08256}"/>
              </a:ext>
            </a:extLst>
          </p:cNvPr>
          <p:cNvSpPr>
            <a:spLocks noGrp="1"/>
          </p:cNvSpPr>
          <p:nvPr>
            <p:ph type="body" sz="quarter" idx="18" hasCustomPrompt="1"/>
          </p:nvPr>
        </p:nvSpPr>
        <p:spPr>
          <a:xfrm>
            <a:off x="3216575" y="2789787"/>
            <a:ext cx="8496000" cy="982800"/>
          </a:xfrm>
        </p:spPr>
        <p:txBody>
          <a:bodyPr anchor="ctr"/>
          <a:lstStyle>
            <a:lvl1pPr rtl="0">
              <a:spcAft>
                <a:spcPts val="0"/>
              </a:spcAft>
              <a:defRPr sz="1400" b="0"/>
            </a:lvl1pPr>
          </a:lstStyle>
          <a:p>
            <a:pPr lvl="0"/>
            <a:r>
              <a:rPr lang="de-DE" dirty="0"/>
              <a:t>Kurze Beschreibung</a:t>
            </a:r>
          </a:p>
        </p:txBody>
      </p:sp>
      <p:sp>
        <p:nvSpPr>
          <p:cNvPr id="21" name="Textplatzhalter 20">
            <a:extLst>
              <a:ext uri="{FF2B5EF4-FFF2-40B4-BE49-F238E27FC236}">
                <a16:creationId xmlns:a16="http://schemas.microsoft.com/office/drawing/2014/main" id="{6DC4479D-A6C8-45C5-8064-4EFEFBA92244}"/>
              </a:ext>
            </a:extLst>
          </p:cNvPr>
          <p:cNvSpPr>
            <a:spLocks noGrp="1"/>
          </p:cNvSpPr>
          <p:nvPr>
            <p:ph type="body" sz="quarter" idx="19" hasCustomPrompt="1"/>
          </p:nvPr>
        </p:nvSpPr>
        <p:spPr>
          <a:xfrm>
            <a:off x="479425" y="3950800"/>
            <a:ext cx="576000" cy="982800"/>
          </a:xfrm>
        </p:spPr>
        <p:txBody>
          <a:bodyPr anchor="ctr"/>
          <a:lstStyle>
            <a:lvl1pPr rtl="0">
              <a:spcAft>
                <a:spcPts val="0"/>
              </a:spcAft>
              <a:defRPr sz="4000" b="0">
                <a:solidFill>
                  <a:schemeClr val="tx1"/>
                </a:solidFill>
              </a:defRPr>
            </a:lvl1pPr>
          </a:lstStyle>
          <a:p>
            <a:pPr lvl="0"/>
            <a:r>
              <a:rPr lang="de-DE" dirty="0"/>
              <a:t>03</a:t>
            </a:r>
          </a:p>
        </p:txBody>
      </p:sp>
      <p:sp>
        <p:nvSpPr>
          <p:cNvPr id="23" name="Textplatzhalter 22">
            <a:extLst>
              <a:ext uri="{FF2B5EF4-FFF2-40B4-BE49-F238E27FC236}">
                <a16:creationId xmlns:a16="http://schemas.microsoft.com/office/drawing/2014/main" id="{F5C89F06-295E-46AE-9896-B2481771B516}"/>
              </a:ext>
            </a:extLst>
          </p:cNvPr>
          <p:cNvSpPr>
            <a:spLocks noGrp="1"/>
          </p:cNvSpPr>
          <p:nvPr>
            <p:ph type="body" sz="quarter" idx="20" hasCustomPrompt="1"/>
          </p:nvPr>
        </p:nvSpPr>
        <p:spPr>
          <a:xfrm>
            <a:off x="1318867" y="3950800"/>
            <a:ext cx="1370824" cy="982800"/>
          </a:xfrm>
        </p:spPr>
        <p:txBody>
          <a:bodyPr anchor="ctr"/>
          <a:lstStyle>
            <a:lvl1pPr rtl="0">
              <a:spcAft>
                <a:spcPts val="0"/>
              </a:spcAft>
              <a:defRPr sz="1400">
                <a:solidFill>
                  <a:schemeClr val="tx1"/>
                </a:solidFill>
              </a:defRPr>
            </a:lvl1pPr>
          </a:lstStyle>
          <a:p>
            <a:pPr lvl="0"/>
            <a:r>
              <a:rPr lang="de-DE" dirty="0"/>
              <a:t>Kapitel 3</a:t>
            </a:r>
          </a:p>
        </p:txBody>
      </p:sp>
      <p:sp>
        <p:nvSpPr>
          <p:cNvPr id="25" name="Textplatzhalter 24">
            <a:extLst>
              <a:ext uri="{FF2B5EF4-FFF2-40B4-BE49-F238E27FC236}">
                <a16:creationId xmlns:a16="http://schemas.microsoft.com/office/drawing/2014/main" id="{D7EC6528-B191-4481-94DB-AF14CE7797C8}"/>
              </a:ext>
            </a:extLst>
          </p:cNvPr>
          <p:cNvSpPr>
            <a:spLocks noGrp="1"/>
          </p:cNvSpPr>
          <p:nvPr>
            <p:ph type="body" sz="quarter" idx="21" hasCustomPrompt="1"/>
          </p:nvPr>
        </p:nvSpPr>
        <p:spPr bwMode="gray">
          <a:xfrm>
            <a:off x="2953133" y="3950800"/>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1005840"/>
              <a:gd name="connsiteY0" fmla="*/ 0 h 982800"/>
              <a:gd name="connsiteX1" fmla="*/ 0 w 1005840"/>
              <a:gd name="connsiteY1" fmla="*/ 982800 h 982800"/>
              <a:gd name="connsiteX2" fmla="*/ 0 w 1005840"/>
              <a:gd name="connsiteY2" fmla="*/ 0 h 982800"/>
              <a:gd name="connsiteX3" fmla="*/ 1005840 w 1005840"/>
              <a:gd name="connsiteY3" fmla="*/ 91440 h 982800"/>
              <a:gd name="connsiteX0" fmla="*/ 914400 w 914400"/>
              <a:gd name="connsiteY0" fmla="*/ 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27" name="Textplatzhalter 26">
            <a:extLst>
              <a:ext uri="{FF2B5EF4-FFF2-40B4-BE49-F238E27FC236}">
                <a16:creationId xmlns:a16="http://schemas.microsoft.com/office/drawing/2014/main" id="{436A7174-431F-4FC7-81B2-908D53A79FA8}"/>
              </a:ext>
            </a:extLst>
          </p:cNvPr>
          <p:cNvSpPr>
            <a:spLocks noGrp="1"/>
          </p:cNvSpPr>
          <p:nvPr>
            <p:ph type="body" sz="quarter" idx="22" hasCustomPrompt="1"/>
          </p:nvPr>
        </p:nvSpPr>
        <p:spPr>
          <a:xfrm>
            <a:off x="3216575" y="3950800"/>
            <a:ext cx="8496000" cy="982800"/>
          </a:xfrm>
        </p:spPr>
        <p:txBody>
          <a:bodyPr anchor="ctr"/>
          <a:lstStyle>
            <a:lvl1pPr rtl="0">
              <a:spcAft>
                <a:spcPts val="0"/>
              </a:spcAft>
              <a:defRPr sz="1400" b="0"/>
            </a:lvl1pPr>
          </a:lstStyle>
          <a:p>
            <a:pPr lvl="0"/>
            <a:r>
              <a:rPr lang="de-DE" dirty="0"/>
              <a:t>Kurze Beschreibung</a:t>
            </a:r>
          </a:p>
        </p:txBody>
      </p:sp>
      <p:sp>
        <p:nvSpPr>
          <p:cNvPr id="29" name="Textplatzhalter 28">
            <a:extLst>
              <a:ext uri="{FF2B5EF4-FFF2-40B4-BE49-F238E27FC236}">
                <a16:creationId xmlns:a16="http://schemas.microsoft.com/office/drawing/2014/main" id="{ACEB4442-93E3-4113-82F0-379B3D573B41}"/>
              </a:ext>
            </a:extLst>
          </p:cNvPr>
          <p:cNvSpPr>
            <a:spLocks noGrp="1"/>
          </p:cNvSpPr>
          <p:nvPr>
            <p:ph type="body" sz="quarter" idx="23" hasCustomPrompt="1"/>
          </p:nvPr>
        </p:nvSpPr>
        <p:spPr>
          <a:xfrm>
            <a:off x="479425" y="5111812"/>
            <a:ext cx="576000" cy="982800"/>
          </a:xfrm>
        </p:spPr>
        <p:txBody>
          <a:bodyPr anchor="ctr"/>
          <a:lstStyle>
            <a:lvl1pPr rtl="0">
              <a:spcAft>
                <a:spcPts val="0"/>
              </a:spcAft>
              <a:defRPr sz="4000" b="0">
                <a:solidFill>
                  <a:schemeClr val="tx1"/>
                </a:solidFill>
              </a:defRPr>
            </a:lvl1pPr>
          </a:lstStyle>
          <a:p>
            <a:pPr lvl="0"/>
            <a:r>
              <a:rPr lang="de-DE" dirty="0"/>
              <a:t>04</a:t>
            </a:r>
          </a:p>
        </p:txBody>
      </p:sp>
      <p:sp>
        <p:nvSpPr>
          <p:cNvPr id="31" name="Textplatzhalter 30">
            <a:extLst>
              <a:ext uri="{FF2B5EF4-FFF2-40B4-BE49-F238E27FC236}">
                <a16:creationId xmlns:a16="http://schemas.microsoft.com/office/drawing/2014/main" id="{0FD0B222-6C2F-41CA-A1EF-4F2D0C1CEFA6}"/>
              </a:ext>
            </a:extLst>
          </p:cNvPr>
          <p:cNvSpPr>
            <a:spLocks noGrp="1"/>
          </p:cNvSpPr>
          <p:nvPr>
            <p:ph type="body" sz="quarter" idx="24" hasCustomPrompt="1"/>
          </p:nvPr>
        </p:nvSpPr>
        <p:spPr>
          <a:xfrm>
            <a:off x="1318867" y="5111812"/>
            <a:ext cx="1370824" cy="982800"/>
          </a:xfrm>
        </p:spPr>
        <p:txBody>
          <a:bodyPr anchor="ctr"/>
          <a:lstStyle>
            <a:lvl1pPr rtl="0">
              <a:spcAft>
                <a:spcPts val="0"/>
              </a:spcAft>
              <a:defRPr sz="1400">
                <a:solidFill>
                  <a:schemeClr val="tx1"/>
                </a:solidFill>
              </a:defRPr>
            </a:lvl1pPr>
          </a:lstStyle>
          <a:p>
            <a:pPr lvl="0"/>
            <a:r>
              <a:rPr lang="de-DE" dirty="0"/>
              <a:t>Kapitel 4</a:t>
            </a:r>
          </a:p>
        </p:txBody>
      </p:sp>
      <p:sp>
        <p:nvSpPr>
          <p:cNvPr id="33" name="Textplatzhalter 32">
            <a:extLst>
              <a:ext uri="{FF2B5EF4-FFF2-40B4-BE49-F238E27FC236}">
                <a16:creationId xmlns:a16="http://schemas.microsoft.com/office/drawing/2014/main" id="{8DD0AAD8-FE46-4BA8-9150-37243A056714}"/>
              </a:ext>
            </a:extLst>
          </p:cNvPr>
          <p:cNvSpPr>
            <a:spLocks noGrp="1"/>
          </p:cNvSpPr>
          <p:nvPr>
            <p:ph type="body" sz="quarter" idx="25" hasCustomPrompt="1"/>
          </p:nvPr>
        </p:nvSpPr>
        <p:spPr bwMode="gray">
          <a:xfrm>
            <a:off x="2953133" y="5111812"/>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914400"/>
              <a:gd name="connsiteY0" fmla="*/ 0 h 982800"/>
              <a:gd name="connsiteX1" fmla="*/ 914400 w 914400"/>
              <a:gd name="connsiteY1" fmla="*/ 982800 h 982800"/>
              <a:gd name="connsiteX2" fmla="*/ 0 w 914400"/>
              <a:gd name="connsiteY2" fmla="*/ 982800 h 982800"/>
              <a:gd name="connsiteX3" fmla="*/ 0 w 914400"/>
              <a:gd name="connsiteY3" fmla="*/ 0 h 982800"/>
              <a:gd name="connsiteX0" fmla="*/ 914400 w 914400"/>
              <a:gd name="connsiteY0" fmla="*/ 98280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35" name="Textplatzhalter 34">
            <a:extLst>
              <a:ext uri="{FF2B5EF4-FFF2-40B4-BE49-F238E27FC236}">
                <a16:creationId xmlns:a16="http://schemas.microsoft.com/office/drawing/2014/main" id="{DE14BFEB-E5B8-478E-A748-A400465F366E}"/>
              </a:ext>
            </a:extLst>
          </p:cNvPr>
          <p:cNvSpPr>
            <a:spLocks noGrp="1"/>
          </p:cNvSpPr>
          <p:nvPr>
            <p:ph type="body" sz="quarter" idx="26" hasCustomPrompt="1"/>
          </p:nvPr>
        </p:nvSpPr>
        <p:spPr>
          <a:xfrm>
            <a:off x="3216575" y="5111812"/>
            <a:ext cx="8496000" cy="982800"/>
          </a:xfrm>
        </p:spPr>
        <p:txBody>
          <a:bodyPr anchor="ctr"/>
          <a:lstStyle>
            <a:lvl1pPr rtl="0">
              <a:spcAft>
                <a:spcPts val="0"/>
              </a:spcAft>
              <a:defRPr sz="1400" b="0"/>
            </a:lvl1pPr>
          </a:lstStyle>
          <a:p>
            <a:pPr lvl="0"/>
            <a:r>
              <a:rPr lang="de-DE" dirty="0"/>
              <a:t>Kurze Beschreibung</a:t>
            </a:r>
          </a:p>
        </p:txBody>
      </p:sp>
      <p:sp>
        <p:nvSpPr>
          <p:cNvPr id="26" name="Textplatzhalter 2">
            <a:extLst>
              <a:ext uri="{FF2B5EF4-FFF2-40B4-BE49-F238E27FC236}">
                <a16:creationId xmlns:a16="http://schemas.microsoft.com/office/drawing/2014/main" id="{1C5AC341-043C-4F54-B808-AF6426474628}"/>
              </a:ext>
            </a:extLst>
          </p:cNvPr>
          <p:cNvSpPr>
            <a:spLocks noGrp="1"/>
          </p:cNvSpPr>
          <p:nvPr>
            <p:ph type="body" sz="quarter" idx="27"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585951489"/>
      </p:ext>
    </p:extLst>
  </p:cSld>
  <p:clrMapOvr>
    <a:masterClrMapping/>
  </p:clrMapOvr>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ganze Brei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E989DB-631D-48A2-B7FD-2053B399296C}"/>
              </a:ext>
            </a:extLst>
          </p:cNvPr>
          <p:cNvGraphicFramePr>
            <a:graphicFrameLocks noChangeAspect="1"/>
          </p:cNvGraphicFramePr>
          <p:nvPr userDrawn="1">
            <p:custDataLst>
              <p:tags r:id="rId1"/>
            </p:custDataLst>
            <p:extLst>
              <p:ext uri="{D42A27DB-BD31-4B8C-83A1-F6EECF244321}">
                <p14:modId xmlns:p14="http://schemas.microsoft.com/office/powerpoint/2010/main" val="18537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7EE989DB-631D-48A2-B7FD-2053B39929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11233152"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497FE522-04A1-4E37-A95E-F22176DC98F7}"/>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283291733"/>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ECF26CE-A90D-4DC6-A6FE-CF4FEFC13951}"/>
              </a:ext>
            </a:extLst>
          </p:cNvPr>
          <p:cNvGraphicFramePr>
            <a:graphicFrameLocks noChangeAspect="1"/>
          </p:cNvGraphicFramePr>
          <p:nvPr userDrawn="1">
            <p:custDataLst>
              <p:tags r:id="rId1"/>
            </p:custDataLst>
            <p:extLst>
              <p:ext uri="{D42A27DB-BD31-4B8C-83A1-F6EECF244321}">
                <p14:modId xmlns:p14="http://schemas.microsoft.com/office/powerpoint/2010/main" val="1165339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3ECF26CE-A90D-4DC6-A6FE-CF4FEFC13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624046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B3FB1DB9-509A-49AA-9464-128B7899BFE9}"/>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1315763730"/>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00F4F25-C7EB-4459-B9D7-0BE7CF6FBB85}"/>
              </a:ext>
            </a:extLst>
          </p:cNvPr>
          <p:cNvGraphicFramePr>
            <a:graphicFrameLocks noChangeAspect="1"/>
          </p:cNvGraphicFramePr>
          <p:nvPr userDrawn="1">
            <p:custDataLst>
              <p:tags r:id="rId1"/>
            </p:custDataLst>
            <p:extLst>
              <p:ext uri="{D42A27DB-BD31-4B8C-83A1-F6EECF244321}">
                <p14:modId xmlns:p14="http://schemas.microsoft.com/office/powerpoint/2010/main" val="230814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00F4F25-C7EB-4459-B9D7-0BE7CF6FB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4"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4319400"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8">
            <a:extLst>
              <a:ext uri="{FF2B5EF4-FFF2-40B4-BE49-F238E27FC236}">
                <a16:creationId xmlns:a16="http://schemas.microsoft.com/office/drawing/2014/main" id="{6B133476-BB35-4E82-AEA0-BC4A2B21AC70}"/>
              </a:ext>
            </a:extLst>
          </p:cNvPr>
          <p:cNvSpPr>
            <a:spLocks noGrp="1"/>
          </p:cNvSpPr>
          <p:nvPr>
            <p:ph type="body" sz="quarter" idx="13" hasCustomPrompt="1"/>
          </p:nvPr>
        </p:nvSpPr>
        <p:spPr bwMode="gray">
          <a:xfrm>
            <a:off x="8159375" y="1628775"/>
            <a:ext cx="3553199" cy="44640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10" name="Textplatzhalter 2">
            <a:extLst>
              <a:ext uri="{FF2B5EF4-FFF2-40B4-BE49-F238E27FC236}">
                <a16:creationId xmlns:a16="http://schemas.microsoft.com/office/drawing/2014/main" id="{202C7ADC-DFA4-4CC5-BA95-5E94CCEF1CF1}"/>
              </a:ext>
            </a:extLst>
          </p:cNvPr>
          <p:cNvSpPr>
            <a:spLocks noGrp="1"/>
          </p:cNvSpPr>
          <p:nvPr>
            <p:ph type="body" sz="quarter" idx="14"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75114549"/>
      </p:ext>
    </p:extLst>
  </p:cSld>
  <p:clrMapOvr>
    <a:masterClrMapping/>
  </p:clrMapOvr>
  <p:extLst>
    <p:ext uri="{DCECCB84-F9BA-43D5-87BE-67443E8EF086}">
      <p15:sldGuideLst xmlns:p15="http://schemas.microsoft.com/office/powerpoint/2012/main">
        <p15:guide id="1" pos="2544" userDrawn="1">
          <p15:clr>
            <a:srgbClr val="FBAE40"/>
          </p15:clr>
        </p15:guide>
        <p15:guide id="2" pos="2718" userDrawn="1">
          <p15:clr>
            <a:srgbClr val="FBAE40"/>
          </p15:clr>
        </p15:guide>
        <p15:guide id="3" pos="4962" userDrawn="1">
          <p15:clr>
            <a:srgbClr val="FBAE40"/>
          </p15:clr>
        </p15:guide>
        <p15:guide id="4" pos="513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 Grafik +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0ACD0F2-17D0-4B5D-B6D0-73C57636DCCE}"/>
              </a:ext>
            </a:extLst>
          </p:cNvPr>
          <p:cNvGraphicFramePr>
            <a:graphicFrameLocks noChangeAspect="1"/>
          </p:cNvGraphicFramePr>
          <p:nvPr userDrawn="1">
            <p:custDataLst>
              <p:tags r:id="rId1"/>
            </p:custDataLst>
            <p:extLst>
              <p:ext uri="{D42A27DB-BD31-4B8C-83A1-F6EECF244321}">
                <p14:modId xmlns:p14="http://schemas.microsoft.com/office/powerpoint/2010/main" val="370669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30ACD0F2-17D0-4B5D-B6D0-73C57636D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8159987"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10" name="Inhaltsplatzhalter 9">
            <a:extLst>
              <a:ext uri="{FF2B5EF4-FFF2-40B4-BE49-F238E27FC236}">
                <a16:creationId xmlns:a16="http://schemas.microsoft.com/office/drawing/2014/main" id="{FF21509B-0FE9-4C4B-AC06-361424CF1503}"/>
              </a:ext>
            </a:extLst>
          </p:cNvPr>
          <p:cNvSpPr>
            <a:spLocks noGrp="1"/>
          </p:cNvSpPr>
          <p:nvPr>
            <p:ph sz="quarter" idx="12" hasCustomPrompt="1"/>
          </p:nvPr>
        </p:nvSpPr>
        <p:spPr bwMode="gray">
          <a:xfrm>
            <a:off x="479425" y="1628775"/>
            <a:ext cx="7397750"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18590AFB-8534-49C9-BD32-979ADCE711F2}"/>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217898305"/>
      </p:ext>
    </p:extLst>
  </p:cSld>
  <p:clrMapOvr>
    <a:masterClrMapping/>
  </p:clrMapOvr>
  <p:extLst>
    <p:ext uri="{DCECCB84-F9BA-43D5-87BE-67443E8EF086}">
      <p15:sldGuideLst xmlns:p15="http://schemas.microsoft.com/office/powerpoint/2012/main">
        <p15:guide id="3" pos="4962" userDrawn="1">
          <p15:clr>
            <a:srgbClr val="FBAE40"/>
          </p15:clr>
        </p15:guide>
        <p15:guide id="4" pos="513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fik ganze Bre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A788FB1-B28B-48C2-8579-968B607E540C}"/>
              </a:ext>
            </a:extLst>
          </p:cNvPr>
          <p:cNvGraphicFramePr>
            <a:graphicFrameLocks noChangeAspect="1"/>
          </p:cNvGraphicFramePr>
          <p:nvPr userDrawn="1">
            <p:custDataLst>
              <p:tags r:id="rId1"/>
            </p:custDataLst>
            <p:extLst>
              <p:ext uri="{D42A27DB-BD31-4B8C-83A1-F6EECF244321}">
                <p14:modId xmlns:p14="http://schemas.microsoft.com/office/powerpoint/2010/main" val="2082820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A788FB1-B28B-48C2-8579-968B607E54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10" name="Inhaltsplatzhalter 9">
            <a:extLst>
              <a:ext uri="{FF2B5EF4-FFF2-40B4-BE49-F238E27FC236}">
                <a16:creationId xmlns:a16="http://schemas.microsoft.com/office/drawing/2014/main" id="{FF21509B-0FE9-4C4B-AC06-361424CF1503}"/>
              </a:ext>
            </a:extLst>
          </p:cNvPr>
          <p:cNvSpPr>
            <a:spLocks noGrp="1"/>
          </p:cNvSpPr>
          <p:nvPr>
            <p:ph sz="quarter" idx="12" hasCustomPrompt="1"/>
          </p:nvPr>
        </p:nvSpPr>
        <p:spPr bwMode="gray">
          <a:xfrm>
            <a:off x="479425" y="1628775"/>
            <a:ext cx="11233150"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6" name="Textplatzhalter 2">
            <a:extLst>
              <a:ext uri="{FF2B5EF4-FFF2-40B4-BE49-F238E27FC236}">
                <a16:creationId xmlns:a16="http://schemas.microsoft.com/office/drawing/2014/main" id="{4ED2F4F4-79E8-4D58-B999-0AB453F3A6BD}"/>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85100027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36D8BB-6610-4C02-AECC-7FD574E81EFD}"/>
              </a:ext>
            </a:extLst>
          </p:cNvPr>
          <p:cNvGraphicFramePr>
            <a:graphicFrameLocks noChangeAspect="1"/>
          </p:cNvGraphicFramePr>
          <p:nvPr userDrawn="1">
            <p:custDataLst>
              <p:tags r:id="rId26"/>
            </p:custDataLst>
            <p:extLst>
              <p:ext uri="{D42A27DB-BD31-4B8C-83A1-F6EECF244321}">
                <p14:modId xmlns:p14="http://schemas.microsoft.com/office/powerpoint/2010/main" val="113356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306" imgH="306" progId="TCLayout.ActiveDocument.1">
                  <p:embed/>
                </p:oleObj>
              </mc:Choice>
              <mc:Fallback>
                <p:oleObj name="think-cell Folie" r:id="rId27" imgW="306" imgH="306" progId="TCLayout.ActiveDocument.1">
                  <p:embed/>
                  <p:pic>
                    <p:nvPicPr>
                      <p:cNvPr id="5" name="Objekt 4" hidden="1">
                        <a:extLst>
                          <a:ext uri="{FF2B5EF4-FFF2-40B4-BE49-F238E27FC236}">
                            <a16:creationId xmlns:a16="http://schemas.microsoft.com/office/drawing/2014/main" id="{9336D8BB-6610-4C02-AECC-7FD574E81EFD}"/>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48137288-D4DD-47A0-A5A2-9B21E0843F0B}"/>
              </a:ext>
            </a:extLst>
          </p:cNvPr>
          <p:cNvSpPr>
            <a:spLocks noGrp="1"/>
          </p:cNvSpPr>
          <p:nvPr>
            <p:ph type="title"/>
          </p:nvPr>
        </p:nvSpPr>
        <p:spPr bwMode="gray">
          <a:xfrm>
            <a:off x="479425" y="739916"/>
            <a:ext cx="11233150" cy="443198"/>
          </a:xfrm>
          <a:prstGeom prst="rect">
            <a:avLst/>
          </a:prstGeom>
        </p:spPr>
        <p:txBody>
          <a:bodyPr vert="horz" lIns="0" tIns="0" rIns="0" bIns="0" rtlCol="0" anchor="t" anchorCtr="0">
            <a:noAutofit/>
          </a:bodyPr>
          <a:lstStyle/>
          <a:p>
            <a:r>
              <a:rPr lang="de-DE" noProof="0" dirty="0"/>
              <a:t>Headline, PT Sans, 32 </a:t>
            </a:r>
            <a:r>
              <a:rPr lang="de-DE" noProof="0" dirty="0" err="1"/>
              <a:t>pt</a:t>
            </a:r>
            <a:endParaRPr lang="de-DE" noProof="0" dirty="0"/>
          </a:p>
        </p:txBody>
      </p:sp>
      <p:sp>
        <p:nvSpPr>
          <p:cNvPr id="3" name="Textplatzhalter 2">
            <a:extLst>
              <a:ext uri="{FF2B5EF4-FFF2-40B4-BE49-F238E27FC236}">
                <a16:creationId xmlns:a16="http://schemas.microsoft.com/office/drawing/2014/main" id="{2A8DB32B-83D1-4D46-9114-9A1546EDEC8B}"/>
              </a:ext>
            </a:extLst>
          </p:cNvPr>
          <p:cNvSpPr>
            <a:spLocks noGrp="1"/>
          </p:cNvSpPr>
          <p:nvPr>
            <p:ph type="body" idx="1"/>
          </p:nvPr>
        </p:nvSpPr>
        <p:spPr bwMode="gray">
          <a:xfrm>
            <a:off x="479425" y="1628775"/>
            <a:ext cx="11233150" cy="4464050"/>
          </a:xfrm>
          <a:prstGeom prst="rect">
            <a:avLst/>
          </a:prstGeom>
        </p:spPr>
        <p:txBody>
          <a:bodyPr vert="horz" lIns="0" tIns="0" rIns="0" bIns="0" rtlCol="0" anchor="t" anchorCtr="0">
            <a:noAutofit/>
          </a:body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7" name="Gerader Verbinder 6">
            <a:extLst>
              <a:ext uri="{FF2B5EF4-FFF2-40B4-BE49-F238E27FC236}">
                <a16:creationId xmlns:a16="http://schemas.microsoft.com/office/drawing/2014/main" id="{FE75EBC2-3978-4F7E-B8CE-2B0C536A964E}"/>
              </a:ext>
            </a:extLst>
          </p:cNvPr>
          <p:cNvCxnSpPr>
            <a:cxnSpLocks/>
          </p:cNvCxnSpPr>
          <p:nvPr userDrawn="1"/>
        </p:nvCxnSpPr>
        <p:spPr bwMode="gray">
          <a:xfrm>
            <a:off x="479425" y="651016"/>
            <a:ext cx="11233150" cy="0"/>
          </a:xfrm>
          <a:prstGeom prst="line">
            <a:avLst/>
          </a:prstGeom>
          <a:noFill/>
          <a:ln w="6350" cap="flat">
            <a:solidFill>
              <a:srgbClr val="2F4D72"/>
            </a:solidFill>
            <a:prstDash val="solid"/>
            <a:miter/>
          </a:ln>
        </p:spPr>
      </p:cxnSp>
      <p:sp>
        <p:nvSpPr>
          <p:cNvPr id="8" name="Textfeld 7">
            <a:extLst>
              <a:ext uri="{FF2B5EF4-FFF2-40B4-BE49-F238E27FC236}">
                <a16:creationId xmlns:a16="http://schemas.microsoft.com/office/drawing/2014/main" id="{D3806088-DA19-440A-84FC-46E3F2E238FC}"/>
              </a:ext>
            </a:extLst>
          </p:cNvPr>
          <p:cNvSpPr txBox="1"/>
          <p:nvPr userDrawn="1"/>
        </p:nvSpPr>
        <p:spPr bwMode="gray">
          <a:xfrm>
            <a:off x="479425" y="6418362"/>
            <a:ext cx="1705595" cy="153888"/>
          </a:xfrm>
          <a:prstGeom prst="rect">
            <a:avLst/>
          </a:prstGeom>
        </p:spPr>
        <p:txBody>
          <a:bodyPr wrap="non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de-DE" noProof="0" dirty="0"/>
              <a:t>Fonds Finanz. Mein Maklerpool</a:t>
            </a:r>
          </a:p>
        </p:txBody>
      </p:sp>
      <p:sp>
        <p:nvSpPr>
          <p:cNvPr id="9" name="Textfeld 8">
            <a:extLst>
              <a:ext uri="{FF2B5EF4-FFF2-40B4-BE49-F238E27FC236}">
                <a16:creationId xmlns:a16="http://schemas.microsoft.com/office/drawing/2014/main" id="{34B55C68-02BC-4E32-9769-089A978EA39B}"/>
              </a:ext>
            </a:extLst>
          </p:cNvPr>
          <p:cNvSpPr txBox="1"/>
          <p:nvPr userDrawn="1"/>
        </p:nvSpPr>
        <p:spPr bwMode="gray">
          <a:xfrm>
            <a:off x="11252200" y="6418362"/>
            <a:ext cx="460375" cy="153888"/>
          </a:xfrm>
          <a:prstGeom prst="rect">
            <a:avLst/>
          </a:prstGeom>
        </p:spPr>
        <p:txBody>
          <a:bodyPr wrap="squar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r" rtl="0"/>
            <a:fld id="{9CABAB34-EED9-4944-9833-2D0472E7C8C0}" type="slidenum">
              <a:rPr lang="de-DE" noProof="0" smtClean="0"/>
              <a:pPr lvl="0" algn="r" rtl="0"/>
              <a:t>‹Nr.›</a:t>
            </a:fld>
            <a:endParaRPr lang="de-DE" noProof="0" dirty="0"/>
          </a:p>
        </p:txBody>
      </p:sp>
    </p:spTree>
    <p:extLst>
      <p:ext uri="{BB962C8B-B14F-4D97-AF65-F5344CB8AC3E}">
        <p14:creationId xmlns:p14="http://schemas.microsoft.com/office/powerpoint/2010/main" val="376528603"/>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69" r:id="rId4"/>
    <p:sldLayoutId id="2147483654" r:id="rId5"/>
    <p:sldLayoutId id="2147483653" r:id="rId6"/>
    <p:sldLayoutId id="2147483652" r:id="rId7"/>
    <p:sldLayoutId id="2147483655" r:id="rId8"/>
    <p:sldLayoutId id="2147483656" r:id="rId9"/>
    <p:sldLayoutId id="2147483651" r:id="rId10"/>
    <p:sldLayoutId id="2147483657" r:id="rId11"/>
    <p:sldLayoutId id="2147483659" r:id="rId12"/>
    <p:sldLayoutId id="2147483658" r:id="rId13"/>
    <p:sldLayoutId id="2147483660" r:id="rId14"/>
    <p:sldLayoutId id="2147483661" r:id="rId15"/>
    <p:sldLayoutId id="2147483662" r:id="rId16"/>
    <p:sldLayoutId id="2147483663" r:id="rId17"/>
    <p:sldLayoutId id="2147483664" r:id="rId18"/>
    <p:sldLayoutId id="2147483668" r:id="rId19"/>
    <p:sldLayoutId id="2147483665" r:id="rId20"/>
    <p:sldLayoutId id="2147483673" r:id="rId21"/>
    <p:sldLayoutId id="2147483674" r:id="rId22"/>
    <p:sldLayoutId id="2147483666" r:id="rId23"/>
    <p:sldLayoutId id="2147483672" r:id="rId24"/>
  </p:sldLayoutIdLst>
  <p:txStyles>
    <p:titleStyle>
      <a:lvl1pPr algn="l" defTabSz="914400" rtl="0" eaLnBrk="1" latinLnBrk="0" hangingPunct="1">
        <a:lnSpc>
          <a:spcPct val="90000"/>
        </a:lnSpc>
        <a:spcBef>
          <a:spcPct val="0"/>
        </a:spcBef>
        <a:spcAft>
          <a:spcPts val="300"/>
        </a:spcAft>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userDrawn="1">
          <p15:clr>
            <a:srgbClr val="FBAE40"/>
          </p15:clr>
        </p15:guide>
        <p15:guide id="2" orient="horz" pos="1026" userDrawn="1">
          <p15:clr>
            <a:srgbClr val="FBAE40"/>
          </p15:clr>
        </p15:guide>
        <p15:guide id="4" pos="302" userDrawn="1">
          <p15:clr>
            <a:srgbClr val="FBAE40"/>
          </p15:clr>
        </p15:guide>
        <p15:guide id="5" pos="7378" userDrawn="1">
          <p15:clr>
            <a:srgbClr val="FBAE40"/>
          </p15:clr>
        </p15:guide>
        <p15:guide id="6" orient="horz" pos="3997" userDrawn="1">
          <p15:clr>
            <a:srgbClr val="FBAE40"/>
          </p15:clr>
        </p15:guide>
        <p15:guide id="7" orient="horz" pos="4140" userDrawn="1">
          <p15:clr>
            <a:srgbClr val="FBAE40"/>
          </p15:clr>
        </p15:guide>
        <p15:guide id="8" orient="horz" pos="754" userDrawn="1">
          <p15:clr>
            <a:srgbClr val="FBAE40"/>
          </p15:clr>
        </p15:guide>
        <p15:guide id="9" orient="horz" pos="3838" userDrawn="1">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2.jp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3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3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35.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36.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37.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38.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39.xml"/><Relationship Id="rId5" Type="http://schemas.openxmlformats.org/officeDocument/2006/relationships/image" Target="../media/image6.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4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3.xml"/><Relationship Id="rId1" Type="http://schemas.openxmlformats.org/officeDocument/2006/relationships/tags" Target="../tags/tag42.xml"/><Relationship Id="rId5" Type="http://schemas.openxmlformats.org/officeDocument/2006/relationships/image" Target="../media/image10.jp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hyperlink" Target="https://www.gesetze-im-internet.de/beamtvg/__38.html"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hyperlink" Target="https://www.gesetze-im-internet.de/beamtvg/__37.html" TargetMode="External"/><Relationship Id="rId3" Type="http://schemas.openxmlformats.org/officeDocument/2006/relationships/oleObject" Target="../embeddings/oleObject28.bin"/><Relationship Id="rId7" Type="http://schemas.openxmlformats.org/officeDocument/2006/relationships/hyperlink" Target="https://www.gesetze-im-internet.de/beamtvg/__36.html" TargetMode="External"/><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hyperlink" Target="https://www.gesetze-im-internet.de/beamtvg/__14.html" TargetMode="External"/><Relationship Id="rId5" Type="http://schemas.openxmlformats.org/officeDocument/2006/relationships/hyperlink" Target="https://www.gesetze-im-internet.de/beamtvg/__15.html"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hyperlink" Target="https://www.gesetze-im-internet.de/beamtvg/__37.html" TargetMode="Externa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hyperlink" Target="https://www.gesetze-im-internet.de/beamtvg/__36.html" TargetMode="External"/><Relationship Id="rId5" Type="http://schemas.openxmlformats.org/officeDocument/2006/relationships/hyperlink" Target="https://www.gesetze-im-internet.de/beamtvg/__14.html"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3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11C94C-D050-4303-BD01-EB350D9CF355}"/>
              </a:ext>
            </a:extLst>
          </p:cNvPr>
          <p:cNvGraphicFramePr>
            <a:graphicFrameLocks noChangeAspect="1"/>
          </p:cNvGraphicFramePr>
          <p:nvPr>
            <p:custDataLst>
              <p:tags r:id="rId1"/>
            </p:custDataLst>
            <p:extLst>
              <p:ext uri="{D42A27DB-BD31-4B8C-83A1-F6EECF244321}">
                <p14:modId xmlns:p14="http://schemas.microsoft.com/office/powerpoint/2010/main" val="235338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E511C94C-D050-4303-BD01-EB350D9CF3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CC24C50A-6133-4997-BD17-338D41E40979}"/>
              </a:ext>
            </a:extLst>
          </p:cNvPr>
          <p:cNvSpPr>
            <a:spLocks noGrp="1"/>
          </p:cNvSpPr>
          <p:nvPr>
            <p:ph type="ctrTitle"/>
          </p:nvPr>
        </p:nvSpPr>
        <p:spPr>
          <a:xfrm>
            <a:off x="745185" y="3805389"/>
            <a:ext cx="5094302" cy="993092"/>
          </a:xfrm>
        </p:spPr>
        <p:txBody>
          <a:bodyPr vert="horz">
            <a:normAutofit/>
          </a:bodyPr>
          <a:lstStyle/>
          <a:p>
            <a:r>
              <a:rPr lang="de-DE" dirty="0"/>
              <a:t>Der Bedarf von Beamten</a:t>
            </a:r>
          </a:p>
        </p:txBody>
      </p:sp>
      <p:sp>
        <p:nvSpPr>
          <p:cNvPr id="6" name="Untertitel 5">
            <a:extLst>
              <a:ext uri="{FF2B5EF4-FFF2-40B4-BE49-F238E27FC236}">
                <a16:creationId xmlns:a16="http://schemas.microsoft.com/office/drawing/2014/main" id="{73A397DA-5884-49B1-AE71-81733D306727}"/>
              </a:ext>
            </a:extLst>
          </p:cNvPr>
          <p:cNvSpPr>
            <a:spLocks noGrp="1"/>
          </p:cNvSpPr>
          <p:nvPr>
            <p:ph type="subTitle" idx="1"/>
          </p:nvPr>
        </p:nvSpPr>
        <p:spPr>
          <a:xfrm>
            <a:off x="745183" y="4841551"/>
            <a:ext cx="5094301" cy="615553"/>
          </a:xfrm>
        </p:spPr>
        <p:txBody>
          <a:bodyPr/>
          <a:lstStyle/>
          <a:p>
            <a:r>
              <a:rPr lang="de-DE" dirty="0"/>
              <a:t>Nimm, was du brauchst und vergiss den Rest!</a:t>
            </a:r>
          </a:p>
        </p:txBody>
      </p:sp>
      <p:sp>
        <p:nvSpPr>
          <p:cNvPr id="7" name="Textplatzhalter 6">
            <a:extLst>
              <a:ext uri="{FF2B5EF4-FFF2-40B4-BE49-F238E27FC236}">
                <a16:creationId xmlns:a16="http://schemas.microsoft.com/office/drawing/2014/main" id="{2E2DEADD-F6D0-477C-A197-A83F865C028B}"/>
              </a:ext>
            </a:extLst>
          </p:cNvPr>
          <p:cNvSpPr>
            <a:spLocks noGrp="1"/>
          </p:cNvSpPr>
          <p:nvPr>
            <p:ph type="body" sz="quarter" idx="13"/>
          </p:nvPr>
        </p:nvSpPr>
        <p:spPr>
          <a:xfrm>
            <a:off x="745184" y="5851632"/>
            <a:ext cx="3320978" cy="369332"/>
          </a:xfrm>
        </p:spPr>
        <p:txBody>
          <a:bodyPr/>
          <a:lstStyle/>
          <a:p>
            <a:r>
              <a:rPr lang="de-DE" dirty="0"/>
              <a:t>Philip Wenzel| Vertriebsspezialist BU</a:t>
            </a:r>
          </a:p>
        </p:txBody>
      </p:sp>
      <p:pic>
        <p:nvPicPr>
          <p:cNvPr id="9" name="Bildplatzhalter 8">
            <a:extLst>
              <a:ext uri="{FF2B5EF4-FFF2-40B4-BE49-F238E27FC236}">
                <a16:creationId xmlns:a16="http://schemas.microsoft.com/office/drawing/2014/main" id="{4BD08E32-BCC4-49DB-B535-F17C26ADD710}"/>
              </a:ext>
            </a:extLst>
          </p:cNvPr>
          <p:cNvPicPr>
            <a:picLocks noGrp="1" noChangeAspect="1"/>
          </p:cNvPicPr>
          <p:nvPr>
            <p:ph type="pic" sz="quarter" idx="14"/>
          </p:nvPr>
        </p:nvPicPr>
        <p:blipFill>
          <a:blip r:embed="rId5"/>
          <a:srcRect t="1" b="1"/>
          <a:stretch>
            <a:fillRect/>
          </a:stretch>
        </p:blipFill>
        <p:spPr/>
      </p:pic>
    </p:spTree>
    <p:extLst>
      <p:ext uri="{BB962C8B-B14F-4D97-AF65-F5344CB8AC3E}">
        <p14:creationId xmlns:p14="http://schemas.microsoft.com/office/powerpoint/2010/main" val="849098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Berechnung des Ruhegehalts wegen Dienstunfähigk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hoch ist das Ruhegehalt?</a:t>
            </a:r>
          </a:p>
        </p:txBody>
      </p:sp>
      <p:grpSp>
        <p:nvGrpSpPr>
          <p:cNvPr id="19" name="Gruppieren 18">
            <a:extLst>
              <a:ext uri="{FF2B5EF4-FFF2-40B4-BE49-F238E27FC236}">
                <a16:creationId xmlns:a16="http://schemas.microsoft.com/office/drawing/2014/main" id="{6A33C932-4850-41D9-C83D-8165EB682839}"/>
              </a:ext>
            </a:extLst>
          </p:cNvPr>
          <p:cNvGrpSpPr/>
          <p:nvPr/>
        </p:nvGrpSpPr>
        <p:grpSpPr>
          <a:xfrm>
            <a:off x="479425" y="2068723"/>
            <a:ext cx="2592303" cy="2720554"/>
            <a:chOff x="141417" y="1111648"/>
            <a:chExt cx="2592303" cy="2720554"/>
          </a:xfrm>
          <a:solidFill>
            <a:schemeClr val="accent2"/>
          </a:solidFill>
        </p:grpSpPr>
        <p:sp>
          <p:nvSpPr>
            <p:cNvPr id="20" name="Ellipse 19">
              <a:extLst>
                <a:ext uri="{FF2B5EF4-FFF2-40B4-BE49-F238E27FC236}">
                  <a16:creationId xmlns:a16="http://schemas.microsoft.com/office/drawing/2014/main" id="{E5945FBA-CE7A-F54C-1D82-5C9197EB00C9}"/>
                </a:ext>
              </a:extLst>
            </p:cNvPr>
            <p:cNvSpPr/>
            <p:nvPr/>
          </p:nvSpPr>
          <p:spPr>
            <a:xfrm>
              <a:off x="141417" y="1111648"/>
              <a:ext cx="2592303" cy="2720554"/>
            </a:xfrm>
            <a:prstGeom prst="ellipse">
              <a:avLst/>
            </a:prstGeom>
            <a:grp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21" name="Ellipse 4">
              <a:extLst>
                <a:ext uri="{FF2B5EF4-FFF2-40B4-BE49-F238E27FC236}">
                  <a16:creationId xmlns:a16="http://schemas.microsoft.com/office/drawing/2014/main" id="{CEA8D650-7578-ABA5-181D-5B137113266B}"/>
                </a:ext>
              </a:extLst>
            </p:cNvPr>
            <p:cNvSpPr txBox="1"/>
            <p:nvPr/>
          </p:nvSpPr>
          <p:spPr>
            <a:xfrm>
              <a:off x="573568" y="1607925"/>
              <a:ext cx="1728000" cy="17280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600" b="1" dirty="0">
                  <a:ea typeface="Yu Gothic Light" panose="020B0300000000000000" pitchFamily="34" charset="-128"/>
                  <a:cs typeface="Arial" panose="020B0604020202020204" pitchFamily="34" charset="0"/>
                </a:rPr>
                <a:t>Ruhegehaltfähige Dienstzeiten bzw. Berechnungs-prozentsatz</a:t>
              </a:r>
            </a:p>
          </p:txBody>
        </p:sp>
      </p:grpSp>
      <p:sp>
        <p:nvSpPr>
          <p:cNvPr id="23" name="Textfeld 22">
            <a:extLst>
              <a:ext uri="{FF2B5EF4-FFF2-40B4-BE49-F238E27FC236}">
                <a16:creationId xmlns:a16="http://schemas.microsoft.com/office/drawing/2014/main" id="{A00E52E5-CE73-C7BC-7D93-B6256551D666}"/>
              </a:ext>
            </a:extLst>
          </p:cNvPr>
          <p:cNvSpPr txBox="1"/>
          <p:nvPr/>
        </p:nvSpPr>
        <p:spPr>
          <a:xfrm>
            <a:off x="3503879" y="2274838"/>
            <a:ext cx="6098720" cy="1477328"/>
          </a:xfrm>
          <a:prstGeom prst="rect">
            <a:avLst/>
          </a:prstGeom>
          <a:noFill/>
        </p:spPr>
        <p:txBody>
          <a:bodyPr wrap="square">
            <a:spAutoFit/>
          </a:bodyPr>
          <a:lstStyle/>
          <a:p>
            <a:r>
              <a:rPr lang="de-DE" dirty="0"/>
              <a:t>Studienzeiten bis zu 855 Tagen +Wehr(</a:t>
            </a:r>
            <a:r>
              <a:rPr lang="de-DE" dirty="0" err="1"/>
              <a:t>ersatz</a:t>
            </a:r>
            <a:r>
              <a:rPr lang="de-DE" dirty="0"/>
              <a:t>)dienst + Dienstbezogene Ausbildungszeiten bis zu 1095 Tagen+ Dienstzeit+ 2/3 der verbleibenden Jahre bis zum 60./62. = Ruhegehaltfähige Dienstzeit x 1,79375 = Berechnungsprozentsatz (max. 71,75%)</a:t>
            </a:r>
          </a:p>
        </p:txBody>
      </p:sp>
    </p:spTree>
    <p:extLst>
      <p:ext uri="{BB962C8B-B14F-4D97-AF65-F5344CB8AC3E}">
        <p14:creationId xmlns:p14="http://schemas.microsoft.com/office/powerpoint/2010/main" val="351930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Was gehört zur Wartez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hoch ist das Ruhegehalt?</a:t>
            </a:r>
          </a:p>
        </p:txBody>
      </p:sp>
      <p:grpSp>
        <p:nvGrpSpPr>
          <p:cNvPr id="19" name="Gruppieren 18">
            <a:extLst>
              <a:ext uri="{FF2B5EF4-FFF2-40B4-BE49-F238E27FC236}">
                <a16:creationId xmlns:a16="http://schemas.microsoft.com/office/drawing/2014/main" id="{6A33C932-4850-41D9-C83D-8165EB682839}"/>
              </a:ext>
            </a:extLst>
          </p:cNvPr>
          <p:cNvGrpSpPr/>
          <p:nvPr/>
        </p:nvGrpSpPr>
        <p:grpSpPr>
          <a:xfrm>
            <a:off x="479425" y="2068723"/>
            <a:ext cx="2592303" cy="2720554"/>
            <a:chOff x="141417" y="1111648"/>
            <a:chExt cx="2592303" cy="2720554"/>
          </a:xfrm>
          <a:solidFill>
            <a:schemeClr val="accent2"/>
          </a:solidFill>
        </p:grpSpPr>
        <p:sp>
          <p:nvSpPr>
            <p:cNvPr id="20" name="Ellipse 19">
              <a:extLst>
                <a:ext uri="{FF2B5EF4-FFF2-40B4-BE49-F238E27FC236}">
                  <a16:creationId xmlns:a16="http://schemas.microsoft.com/office/drawing/2014/main" id="{E5945FBA-CE7A-F54C-1D82-5C9197EB00C9}"/>
                </a:ext>
              </a:extLst>
            </p:cNvPr>
            <p:cNvSpPr/>
            <p:nvPr/>
          </p:nvSpPr>
          <p:spPr>
            <a:xfrm>
              <a:off x="141417" y="1111648"/>
              <a:ext cx="2592303" cy="2720554"/>
            </a:xfrm>
            <a:prstGeom prst="ellipse">
              <a:avLst/>
            </a:prstGeom>
            <a:grp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21" name="Ellipse 4">
              <a:extLst>
                <a:ext uri="{FF2B5EF4-FFF2-40B4-BE49-F238E27FC236}">
                  <a16:creationId xmlns:a16="http://schemas.microsoft.com/office/drawing/2014/main" id="{CEA8D650-7578-ABA5-181D-5B137113266B}"/>
                </a:ext>
              </a:extLst>
            </p:cNvPr>
            <p:cNvSpPr txBox="1"/>
            <p:nvPr/>
          </p:nvSpPr>
          <p:spPr>
            <a:xfrm>
              <a:off x="573568" y="1607925"/>
              <a:ext cx="1728000" cy="17280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600" b="1" dirty="0">
                  <a:ea typeface="Yu Gothic Light" panose="020B0300000000000000" pitchFamily="34" charset="-128"/>
                  <a:cs typeface="Arial" panose="020B0604020202020204" pitchFamily="34" charset="0"/>
                </a:rPr>
                <a:t>Ruhegehaltfähige Dienstzeiten bzw. Berechnungs-prozentsatz</a:t>
              </a:r>
            </a:p>
          </p:txBody>
        </p:sp>
      </p:grpSp>
      <p:sp>
        <p:nvSpPr>
          <p:cNvPr id="23" name="Textfeld 22">
            <a:extLst>
              <a:ext uri="{FF2B5EF4-FFF2-40B4-BE49-F238E27FC236}">
                <a16:creationId xmlns:a16="http://schemas.microsoft.com/office/drawing/2014/main" id="{A00E52E5-CE73-C7BC-7D93-B6256551D666}"/>
              </a:ext>
            </a:extLst>
          </p:cNvPr>
          <p:cNvSpPr txBox="1"/>
          <p:nvPr/>
        </p:nvSpPr>
        <p:spPr>
          <a:xfrm>
            <a:off x="3503879" y="2274838"/>
            <a:ext cx="6098720" cy="2308324"/>
          </a:xfrm>
          <a:prstGeom prst="rect">
            <a:avLst/>
          </a:prstGeom>
          <a:noFill/>
        </p:spPr>
        <p:txBody>
          <a:bodyPr wrap="square">
            <a:spAutoFit/>
          </a:bodyPr>
          <a:lstStyle/>
          <a:p>
            <a:r>
              <a:rPr lang="de-DE" dirty="0"/>
              <a:t>Die Wartezeit beginnt mit der Verbeamtung auf Widerruf und wird durch Elternzeit gehemmt! </a:t>
            </a:r>
          </a:p>
          <a:p>
            <a:endParaRPr lang="de-DE" dirty="0"/>
          </a:p>
          <a:p>
            <a:r>
              <a:rPr lang="de-DE" dirty="0"/>
              <a:t>Bei Teilzeit oder einem Sabbatical wurde 2020 ein Urteil aus München bestätigt, dass die qualitative Anrechnung der Vollzeit gleichzustellen sei. Somit gilt pro </a:t>
            </a:r>
            <a:r>
              <a:rPr lang="de-DE" dirty="0" err="1"/>
              <a:t>rata</a:t>
            </a:r>
            <a:r>
              <a:rPr lang="de-DE" dirty="0"/>
              <a:t> temporis nur für die Berechnung des Ruhegehalts, nicht für die Erfüllung der Wartezeit. Dies gilt im Bund und einigen Ländern. </a:t>
            </a:r>
          </a:p>
        </p:txBody>
      </p:sp>
    </p:spTree>
    <p:extLst>
      <p:ext uri="{BB962C8B-B14F-4D97-AF65-F5344CB8AC3E}">
        <p14:creationId xmlns:p14="http://schemas.microsoft.com/office/powerpoint/2010/main" val="2884104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as Mindestruhegehalt gibt es auch in Teilzeit in voller Höhe</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hoch ist das Ruhegehalt?</a:t>
            </a:r>
          </a:p>
        </p:txBody>
      </p:sp>
      <p:grpSp>
        <p:nvGrpSpPr>
          <p:cNvPr id="19" name="Gruppieren 18">
            <a:extLst>
              <a:ext uri="{FF2B5EF4-FFF2-40B4-BE49-F238E27FC236}">
                <a16:creationId xmlns:a16="http://schemas.microsoft.com/office/drawing/2014/main" id="{6A33C932-4850-41D9-C83D-8165EB682839}"/>
              </a:ext>
            </a:extLst>
          </p:cNvPr>
          <p:cNvGrpSpPr/>
          <p:nvPr/>
        </p:nvGrpSpPr>
        <p:grpSpPr>
          <a:xfrm>
            <a:off x="479425" y="2068723"/>
            <a:ext cx="2592303" cy="2720554"/>
            <a:chOff x="141417" y="1111648"/>
            <a:chExt cx="2592303" cy="2720554"/>
          </a:xfrm>
          <a:solidFill>
            <a:srgbClr val="0088AE"/>
          </a:solidFill>
        </p:grpSpPr>
        <p:sp>
          <p:nvSpPr>
            <p:cNvPr id="20" name="Ellipse 19">
              <a:extLst>
                <a:ext uri="{FF2B5EF4-FFF2-40B4-BE49-F238E27FC236}">
                  <a16:creationId xmlns:a16="http://schemas.microsoft.com/office/drawing/2014/main" id="{E5945FBA-CE7A-F54C-1D82-5C9197EB00C9}"/>
                </a:ext>
              </a:extLst>
            </p:cNvPr>
            <p:cNvSpPr/>
            <p:nvPr/>
          </p:nvSpPr>
          <p:spPr>
            <a:xfrm>
              <a:off x="141417" y="1111648"/>
              <a:ext cx="2592303" cy="2720554"/>
            </a:xfrm>
            <a:prstGeom prst="ellipse">
              <a:avLst/>
            </a:prstGeom>
            <a:grp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21" name="Ellipse 4">
              <a:extLst>
                <a:ext uri="{FF2B5EF4-FFF2-40B4-BE49-F238E27FC236}">
                  <a16:creationId xmlns:a16="http://schemas.microsoft.com/office/drawing/2014/main" id="{CEA8D650-7578-ABA5-181D-5B137113266B}"/>
                </a:ext>
              </a:extLst>
            </p:cNvPr>
            <p:cNvSpPr txBox="1"/>
            <p:nvPr/>
          </p:nvSpPr>
          <p:spPr>
            <a:xfrm>
              <a:off x="573568" y="1607925"/>
              <a:ext cx="1728000" cy="17280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2000" b="1" dirty="0">
                  <a:ea typeface="Yu Gothic Light" panose="020B0300000000000000" pitchFamily="34" charset="-128"/>
                  <a:cs typeface="Arial" panose="020B0604020202020204" pitchFamily="34" charset="0"/>
                </a:rPr>
                <a:t>Mindestens ca. 1.800 Euro</a:t>
              </a:r>
            </a:p>
          </p:txBody>
        </p:sp>
      </p:grpSp>
      <p:sp>
        <p:nvSpPr>
          <p:cNvPr id="23" name="Textfeld 22">
            <a:extLst>
              <a:ext uri="{FF2B5EF4-FFF2-40B4-BE49-F238E27FC236}">
                <a16:creationId xmlns:a16="http://schemas.microsoft.com/office/drawing/2014/main" id="{A00E52E5-CE73-C7BC-7D93-B6256551D666}"/>
              </a:ext>
            </a:extLst>
          </p:cNvPr>
          <p:cNvSpPr txBox="1"/>
          <p:nvPr/>
        </p:nvSpPr>
        <p:spPr>
          <a:xfrm>
            <a:off x="3503879" y="2690336"/>
            <a:ext cx="6098720" cy="1477328"/>
          </a:xfrm>
          <a:prstGeom prst="rect">
            <a:avLst/>
          </a:prstGeom>
          <a:noFill/>
        </p:spPr>
        <p:txBody>
          <a:bodyPr wrap="square">
            <a:spAutoFit/>
          </a:bodyPr>
          <a:lstStyle/>
          <a:p>
            <a:r>
              <a:rPr lang="de-DE" dirty="0"/>
              <a:t>§14 (4) BeamtVG: Das Mindestruhegehalt beträgt entweder 35% der ruhegehaltsfähigen Dienstbezüge oder 65% der Endstufe der Besoldungsgruppe A4 zzgl. 30,68€. </a:t>
            </a:r>
          </a:p>
          <a:p>
            <a:endParaRPr lang="de-DE" dirty="0"/>
          </a:p>
          <a:p>
            <a:r>
              <a:rPr lang="de-DE" dirty="0"/>
              <a:t>Je nachdem, was von beiden höher ist. </a:t>
            </a:r>
          </a:p>
        </p:txBody>
      </p:sp>
    </p:spTree>
    <p:extLst>
      <p:ext uri="{BB962C8B-B14F-4D97-AF65-F5344CB8AC3E}">
        <p14:creationId xmlns:p14="http://schemas.microsoft.com/office/powerpoint/2010/main" val="41527815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Berechnung des Ruhegehalts wegen Dienstunfähigk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hoch ist das Ruhegehalt?</a:t>
            </a:r>
          </a:p>
        </p:txBody>
      </p:sp>
      <p:grpSp>
        <p:nvGrpSpPr>
          <p:cNvPr id="19" name="Gruppieren 18">
            <a:extLst>
              <a:ext uri="{FF2B5EF4-FFF2-40B4-BE49-F238E27FC236}">
                <a16:creationId xmlns:a16="http://schemas.microsoft.com/office/drawing/2014/main" id="{6A33C932-4850-41D9-C83D-8165EB682839}"/>
              </a:ext>
            </a:extLst>
          </p:cNvPr>
          <p:cNvGrpSpPr/>
          <p:nvPr/>
        </p:nvGrpSpPr>
        <p:grpSpPr>
          <a:xfrm>
            <a:off x="479425" y="2068723"/>
            <a:ext cx="2592303" cy="2720554"/>
            <a:chOff x="141417" y="1111648"/>
            <a:chExt cx="2592303" cy="2720554"/>
          </a:xfrm>
          <a:solidFill>
            <a:srgbClr val="0088AE"/>
          </a:solidFill>
        </p:grpSpPr>
        <p:sp>
          <p:nvSpPr>
            <p:cNvPr id="20" name="Ellipse 19">
              <a:extLst>
                <a:ext uri="{FF2B5EF4-FFF2-40B4-BE49-F238E27FC236}">
                  <a16:creationId xmlns:a16="http://schemas.microsoft.com/office/drawing/2014/main" id="{E5945FBA-CE7A-F54C-1D82-5C9197EB00C9}"/>
                </a:ext>
              </a:extLst>
            </p:cNvPr>
            <p:cNvSpPr/>
            <p:nvPr/>
          </p:nvSpPr>
          <p:spPr>
            <a:xfrm>
              <a:off x="141417" y="1111648"/>
              <a:ext cx="2592303" cy="2720554"/>
            </a:xfrm>
            <a:prstGeom prst="ellipse">
              <a:avLst/>
            </a:prstGeom>
            <a:solidFill>
              <a:schemeClr val="accent2"/>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21" name="Ellipse 4">
              <a:extLst>
                <a:ext uri="{FF2B5EF4-FFF2-40B4-BE49-F238E27FC236}">
                  <a16:creationId xmlns:a16="http://schemas.microsoft.com/office/drawing/2014/main" id="{CEA8D650-7578-ABA5-181D-5B137113266B}"/>
                </a:ext>
              </a:extLst>
            </p:cNvPr>
            <p:cNvSpPr txBox="1"/>
            <p:nvPr/>
          </p:nvSpPr>
          <p:spPr>
            <a:xfrm>
              <a:off x="573568" y="1607925"/>
              <a:ext cx="1728000" cy="1728000"/>
            </a:xfrm>
            <a:prstGeom prst="rect">
              <a:avLst/>
            </a:prstGeom>
            <a:solidFill>
              <a:schemeClr val="accent2"/>
            </a:solid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600" b="1" dirty="0">
                  <a:ea typeface="Yu Gothic Light" panose="020B0300000000000000" pitchFamily="34" charset="-128"/>
                  <a:cs typeface="Arial" panose="020B0604020202020204" pitchFamily="34" charset="0"/>
                </a:rPr>
                <a:t>Versorgung des Beamten, abzgl. Versorgungs-abschlag</a:t>
              </a:r>
            </a:p>
          </p:txBody>
        </p:sp>
      </p:grpSp>
      <p:sp>
        <p:nvSpPr>
          <p:cNvPr id="23" name="Textfeld 22">
            <a:extLst>
              <a:ext uri="{FF2B5EF4-FFF2-40B4-BE49-F238E27FC236}">
                <a16:creationId xmlns:a16="http://schemas.microsoft.com/office/drawing/2014/main" id="{A00E52E5-CE73-C7BC-7D93-B6256551D666}"/>
              </a:ext>
            </a:extLst>
          </p:cNvPr>
          <p:cNvSpPr txBox="1"/>
          <p:nvPr/>
        </p:nvSpPr>
        <p:spPr>
          <a:xfrm>
            <a:off x="3503879" y="2690336"/>
            <a:ext cx="6098720" cy="2585323"/>
          </a:xfrm>
          <a:prstGeom prst="rect">
            <a:avLst/>
          </a:prstGeom>
          <a:noFill/>
        </p:spPr>
        <p:txBody>
          <a:bodyPr wrap="square">
            <a:spAutoFit/>
          </a:bodyPr>
          <a:lstStyle/>
          <a:p>
            <a:r>
              <a:rPr lang="de-DE" dirty="0"/>
              <a:t>Für jeden Monat bis zum Erreichen der Regelaltersgrenze werden 0,3% abgezogen, begrenzt auf max. 10,8%. Nebenbei: Wer freiwillig in den Vorruhestand geht, kann mit Abzug bis zu 14,4% rechnen. </a:t>
            </a:r>
          </a:p>
          <a:p>
            <a:endParaRPr lang="de-DE" dirty="0"/>
          </a:p>
          <a:p>
            <a:r>
              <a:rPr lang="de-DE" dirty="0"/>
              <a:t>Das Ruhegehalt unterliegt der Einkommenssteuer abzüglich der Freibeträge. </a:t>
            </a:r>
          </a:p>
          <a:p>
            <a:endParaRPr lang="de-DE" dirty="0"/>
          </a:p>
          <a:p>
            <a:r>
              <a:rPr lang="de-DE" dirty="0"/>
              <a:t>Außerdem sind die Beiträge zur PKV abzugsfähig. </a:t>
            </a:r>
          </a:p>
        </p:txBody>
      </p:sp>
    </p:spTree>
    <p:extLst>
      <p:ext uri="{BB962C8B-B14F-4D97-AF65-F5344CB8AC3E}">
        <p14:creationId xmlns:p14="http://schemas.microsoft.com/office/powerpoint/2010/main" val="1614845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Berechnung des Unfallruhegehalts</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hoch ist das Ruhegehalt?</a:t>
            </a:r>
          </a:p>
        </p:txBody>
      </p:sp>
      <p:grpSp>
        <p:nvGrpSpPr>
          <p:cNvPr id="3" name="Gruppieren 2">
            <a:extLst>
              <a:ext uri="{FF2B5EF4-FFF2-40B4-BE49-F238E27FC236}">
                <a16:creationId xmlns:a16="http://schemas.microsoft.com/office/drawing/2014/main" id="{EE44650E-AD36-A196-D4D6-F8AE6D300CFF}"/>
              </a:ext>
            </a:extLst>
          </p:cNvPr>
          <p:cNvGrpSpPr/>
          <p:nvPr/>
        </p:nvGrpSpPr>
        <p:grpSpPr>
          <a:xfrm>
            <a:off x="479425" y="2682679"/>
            <a:ext cx="2268000" cy="2268000"/>
            <a:chOff x="1307" y="1581538"/>
            <a:chExt cx="1733466" cy="1733466"/>
          </a:xfrm>
          <a:solidFill>
            <a:schemeClr val="accent2"/>
          </a:solidFill>
        </p:grpSpPr>
        <p:sp>
          <p:nvSpPr>
            <p:cNvPr id="4" name="Ellipse 3">
              <a:extLst>
                <a:ext uri="{FF2B5EF4-FFF2-40B4-BE49-F238E27FC236}">
                  <a16:creationId xmlns:a16="http://schemas.microsoft.com/office/drawing/2014/main" id="{19E6FC24-A832-418C-243F-D75EE6D3FB08}"/>
                </a:ext>
              </a:extLst>
            </p:cNvPr>
            <p:cNvSpPr/>
            <p:nvPr/>
          </p:nvSpPr>
          <p:spPr>
            <a:xfrm>
              <a:off x="1307" y="1581538"/>
              <a:ext cx="1733466" cy="1733466"/>
            </a:xfrm>
            <a:prstGeom prst="ellipse">
              <a:avLst/>
            </a:prstGeom>
            <a:grpFill/>
            <a:ln>
              <a:solidFill>
                <a:srgbClr val="0088AE"/>
              </a:solidFill>
            </a:ln>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6" name="Ellipse 4">
              <a:extLst>
                <a:ext uri="{FF2B5EF4-FFF2-40B4-BE49-F238E27FC236}">
                  <a16:creationId xmlns:a16="http://schemas.microsoft.com/office/drawing/2014/main" id="{94431BFA-B5A3-852E-521A-E53077FD0A14}"/>
                </a:ext>
              </a:extLst>
            </p:cNvPr>
            <p:cNvSpPr txBox="1"/>
            <p:nvPr/>
          </p:nvSpPr>
          <p:spPr>
            <a:xfrm>
              <a:off x="229264" y="1854271"/>
              <a:ext cx="1277552" cy="1188000"/>
            </a:xfrm>
            <a:prstGeom prst="rect">
              <a:avLst/>
            </a:prstGeom>
            <a:grpFill/>
            <a:ln>
              <a:solidFill>
                <a:srgbClr val="0088AE"/>
              </a:solidFill>
            </a:ln>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200" b="1" dirty="0">
                  <a:ea typeface="Yu Gothic Light" panose="020B0300000000000000" pitchFamily="34" charset="-128"/>
                  <a:cs typeface="Arial" panose="020B0604020202020204" pitchFamily="34" charset="0"/>
                </a:rPr>
                <a:t>Ruhegehaltsfähige Dienstbezüge</a:t>
              </a:r>
            </a:p>
            <a:p>
              <a:pPr algn="ctr" defTabSz="488950">
                <a:lnSpc>
                  <a:spcPct val="90000"/>
                </a:lnSpc>
                <a:spcBef>
                  <a:spcPct val="0"/>
                </a:spcBef>
                <a:spcAft>
                  <a:spcPct val="35000"/>
                </a:spcAft>
              </a:pPr>
              <a:r>
                <a:rPr lang="de-DE" sz="1200" b="1" dirty="0">
                  <a:ea typeface="Yu Gothic Light" panose="020B0300000000000000" pitchFamily="34" charset="-128"/>
                  <a:cs typeface="Arial" panose="020B0604020202020204" pitchFamily="34" charset="0"/>
                </a:rPr>
                <a:t>(Zurechnungszeiten : 2)</a:t>
              </a:r>
            </a:p>
          </p:txBody>
        </p:sp>
      </p:grpSp>
      <p:grpSp>
        <p:nvGrpSpPr>
          <p:cNvPr id="7" name="Gruppieren 6">
            <a:extLst>
              <a:ext uri="{FF2B5EF4-FFF2-40B4-BE49-F238E27FC236}">
                <a16:creationId xmlns:a16="http://schemas.microsoft.com/office/drawing/2014/main" id="{291F7733-1061-65CC-3DAB-3C1E03FB6ABD}"/>
              </a:ext>
            </a:extLst>
          </p:cNvPr>
          <p:cNvGrpSpPr/>
          <p:nvPr/>
        </p:nvGrpSpPr>
        <p:grpSpPr>
          <a:xfrm>
            <a:off x="4436894" y="2682679"/>
            <a:ext cx="2268000" cy="2268000"/>
            <a:chOff x="3021698" y="1581538"/>
            <a:chExt cx="1733466" cy="1733466"/>
          </a:xfrm>
          <a:solidFill>
            <a:schemeClr val="accent2"/>
          </a:solidFill>
        </p:grpSpPr>
        <p:sp>
          <p:nvSpPr>
            <p:cNvPr id="8" name="Ellipse 7">
              <a:extLst>
                <a:ext uri="{FF2B5EF4-FFF2-40B4-BE49-F238E27FC236}">
                  <a16:creationId xmlns:a16="http://schemas.microsoft.com/office/drawing/2014/main" id="{9B713037-BD96-99E8-92BC-036CA6FDFFE7}"/>
                </a:ext>
              </a:extLst>
            </p:cNvPr>
            <p:cNvSpPr/>
            <p:nvPr/>
          </p:nvSpPr>
          <p:spPr>
            <a:xfrm>
              <a:off x="3021698" y="1581538"/>
              <a:ext cx="1733466" cy="1733466"/>
            </a:xfrm>
            <a:prstGeom prst="ellipse">
              <a:avLst/>
            </a:prstGeom>
            <a:grpFill/>
            <a:ln>
              <a:solidFill>
                <a:srgbClr val="0088AE"/>
              </a:solidFill>
            </a:ln>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9" name="Ellipse 8">
              <a:extLst>
                <a:ext uri="{FF2B5EF4-FFF2-40B4-BE49-F238E27FC236}">
                  <a16:creationId xmlns:a16="http://schemas.microsoft.com/office/drawing/2014/main" id="{6FCC3692-8F4C-2C29-2C84-4134D25FD3D9}"/>
                </a:ext>
              </a:extLst>
            </p:cNvPr>
            <p:cNvSpPr txBox="1"/>
            <p:nvPr/>
          </p:nvSpPr>
          <p:spPr>
            <a:xfrm>
              <a:off x="3294431" y="1848373"/>
              <a:ext cx="1188000" cy="1188000"/>
            </a:xfrm>
            <a:prstGeom prst="rect">
              <a:avLst/>
            </a:prstGeom>
            <a:grpFill/>
            <a:ln>
              <a:solidFill>
                <a:srgbClr val="0088AE"/>
              </a:solidFill>
            </a:ln>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200" b="1" dirty="0">
                  <a:ea typeface="Yu Gothic Light" panose="020B0300000000000000" pitchFamily="34" charset="-128"/>
                  <a:cs typeface="Arial" panose="020B0604020202020204" pitchFamily="34" charset="0"/>
                </a:rPr>
                <a:t>Ruhegehaltsfähige Dienstjahre x 1,79375 + 20%</a:t>
              </a:r>
            </a:p>
          </p:txBody>
        </p:sp>
      </p:grpSp>
      <p:grpSp>
        <p:nvGrpSpPr>
          <p:cNvPr id="11" name="Gruppieren 10">
            <a:extLst>
              <a:ext uri="{FF2B5EF4-FFF2-40B4-BE49-F238E27FC236}">
                <a16:creationId xmlns:a16="http://schemas.microsoft.com/office/drawing/2014/main" id="{6DB7C537-D4D4-ED05-E03E-47719A0760CF}"/>
              </a:ext>
            </a:extLst>
          </p:cNvPr>
          <p:cNvGrpSpPr/>
          <p:nvPr/>
        </p:nvGrpSpPr>
        <p:grpSpPr>
          <a:xfrm>
            <a:off x="8266692" y="2682679"/>
            <a:ext cx="2268000" cy="2268000"/>
            <a:chOff x="6042090" y="1581538"/>
            <a:chExt cx="1733466" cy="1733466"/>
          </a:xfrm>
          <a:solidFill>
            <a:schemeClr val="accent2"/>
          </a:solidFill>
        </p:grpSpPr>
        <p:sp>
          <p:nvSpPr>
            <p:cNvPr id="12" name="Ellipse 11">
              <a:extLst>
                <a:ext uri="{FF2B5EF4-FFF2-40B4-BE49-F238E27FC236}">
                  <a16:creationId xmlns:a16="http://schemas.microsoft.com/office/drawing/2014/main" id="{FE3AD120-DC45-33D1-EA31-8DDEC9A7AB65}"/>
                </a:ext>
              </a:extLst>
            </p:cNvPr>
            <p:cNvSpPr/>
            <p:nvPr/>
          </p:nvSpPr>
          <p:spPr>
            <a:xfrm>
              <a:off x="6042090" y="1581538"/>
              <a:ext cx="1733466" cy="1733466"/>
            </a:xfrm>
            <a:prstGeom prst="ellipse">
              <a:avLst/>
            </a:prstGeom>
            <a:grpFill/>
            <a:ln>
              <a:solidFill>
                <a:srgbClr val="0088AE"/>
              </a:solidFill>
            </a:ln>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13" name="Ellipse 12">
              <a:extLst>
                <a:ext uri="{FF2B5EF4-FFF2-40B4-BE49-F238E27FC236}">
                  <a16:creationId xmlns:a16="http://schemas.microsoft.com/office/drawing/2014/main" id="{B2CD04DF-FBAF-7EF8-81E8-DD31DDD03800}"/>
                </a:ext>
              </a:extLst>
            </p:cNvPr>
            <p:cNvSpPr txBox="1"/>
            <p:nvPr/>
          </p:nvSpPr>
          <p:spPr>
            <a:xfrm>
              <a:off x="6314823" y="1848373"/>
              <a:ext cx="1188000" cy="1188000"/>
            </a:xfrm>
            <a:prstGeom prst="rect">
              <a:avLst/>
            </a:prstGeom>
            <a:grpFill/>
            <a:ln>
              <a:solidFill>
                <a:srgbClr val="0088AE"/>
              </a:solidFill>
            </a:ln>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200" b="1" dirty="0">
                  <a:ea typeface="Yu Gothic Light" panose="020B0300000000000000" pitchFamily="34" charset="-128"/>
                  <a:cs typeface="Arial" panose="020B0604020202020204" pitchFamily="34" charset="0"/>
                </a:rPr>
                <a:t>Unfallruhegehalt</a:t>
              </a:r>
            </a:p>
            <a:p>
              <a:pPr algn="ctr" defTabSz="488950">
                <a:lnSpc>
                  <a:spcPct val="90000"/>
                </a:lnSpc>
                <a:spcBef>
                  <a:spcPct val="0"/>
                </a:spcBef>
                <a:spcAft>
                  <a:spcPct val="35000"/>
                </a:spcAft>
              </a:pPr>
              <a:r>
                <a:rPr lang="de-DE" sz="1200" b="1" dirty="0">
                  <a:ea typeface="Yu Gothic Light" panose="020B0300000000000000" pitchFamily="34" charset="-128"/>
                  <a:cs typeface="Arial" panose="020B0604020202020204" pitchFamily="34" charset="0"/>
                </a:rPr>
                <a:t>Max. 75%</a:t>
              </a:r>
              <a:endParaRPr lang="de-DE" b="1" dirty="0">
                <a:ea typeface="Yu Gothic Light" panose="020B0300000000000000" pitchFamily="34" charset="-128"/>
                <a:cs typeface="Arial" panose="020B0604020202020204" pitchFamily="34" charset="0"/>
              </a:endParaRPr>
            </a:p>
          </p:txBody>
        </p:sp>
      </p:grpSp>
      <p:grpSp>
        <p:nvGrpSpPr>
          <p:cNvPr id="14" name="Gruppieren 13">
            <a:extLst>
              <a:ext uri="{FF2B5EF4-FFF2-40B4-BE49-F238E27FC236}">
                <a16:creationId xmlns:a16="http://schemas.microsoft.com/office/drawing/2014/main" id="{E13A7ACD-368F-2EFF-5897-9621BDA2965F}"/>
              </a:ext>
            </a:extLst>
          </p:cNvPr>
          <p:cNvGrpSpPr/>
          <p:nvPr/>
        </p:nvGrpSpPr>
        <p:grpSpPr>
          <a:xfrm>
            <a:off x="3089454" y="3199429"/>
            <a:ext cx="1005410" cy="1044000"/>
            <a:chOff x="1887159" y="1945566"/>
            <a:chExt cx="1005410" cy="1005410"/>
          </a:xfrm>
          <a:solidFill>
            <a:schemeClr val="accent2"/>
          </a:solidFill>
        </p:grpSpPr>
        <p:sp>
          <p:nvSpPr>
            <p:cNvPr id="15" name="Additionszeichen 14">
              <a:extLst>
                <a:ext uri="{FF2B5EF4-FFF2-40B4-BE49-F238E27FC236}">
                  <a16:creationId xmlns:a16="http://schemas.microsoft.com/office/drawing/2014/main" id="{1145CCC4-363B-1518-328F-8752EF2BEE6D}"/>
                </a:ext>
              </a:extLst>
            </p:cNvPr>
            <p:cNvSpPr/>
            <p:nvPr/>
          </p:nvSpPr>
          <p:spPr>
            <a:xfrm rot="2700000">
              <a:off x="1887159" y="1945566"/>
              <a:ext cx="1005410" cy="1005410"/>
            </a:xfrm>
            <a:prstGeom prst="mathPlus">
              <a:avLst/>
            </a:prstGeom>
            <a:grpFill/>
            <a:ln>
              <a:solidFill>
                <a:srgbClr val="0088AE"/>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1">
              <a:schemeClr val="accent1">
                <a:tint val="60000"/>
                <a:hueOff val="0"/>
                <a:satOff val="0"/>
                <a:lumOff val="0"/>
                <a:alphaOff val="0"/>
              </a:schemeClr>
            </a:effectRef>
            <a:fontRef idx="minor">
              <a:schemeClr val="lt1"/>
            </a:fontRef>
          </p:style>
          <p:txBody>
            <a:bodyPr/>
            <a:lstStyle/>
            <a:p>
              <a:endParaRPr lang="de-DE"/>
            </a:p>
          </p:txBody>
        </p:sp>
        <p:sp>
          <p:nvSpPr>
            <p:cNvPr id="16" name="Additionszeichen 4">
              <a:extLst>
                <a:ext uri="{FF2B5EF4-FFF2-40B4-BE49-F238E27FC236}">
                  <a16:creationId xmlns:a16="http://schemas.microsoft.com/office/drawing/2014/main" id="{A3780353-65FA-2147-5BC7-DE731704C1EB}"/>
                </a:ext>
              </a:extLst>
            </p:cNvPr>
            <p:cNvSpPr txBox="1"/>
            <p:nvPr/>
          </p:nvSpPr>
          <p:spPr>
            <a:xfrm rot="2700000">
              <a:off x="2020426" y="2330035"/>
              <a:ext cx="738876" cy="236472"/>
            </a:xfrm>
            <a:prstGeom prst="rect">
              <a:avLst/>
            </a:prstGeom>
            <a:grpFill/>
            <a:ln>
              <a:solidFill>
                <a:srgbClr val="0088AE"/>
              </a:solidFill>
            </a:ln>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endParaRPr lang="de-DE" sz="1600"/>
            </a:p>
          </p:txBody>
        </p:sp>
      </p:grpSp>
      <p:sp>
        <p:nvSpPr>
          <p:cNvPr id="17" name="Gleich 16">
            <a:extLst>
              <a:ext uri="{FF2B5EF4-FFF2-40B4-BE49-F238E27FC236}">
                <a16:creationId xmlns:a16="http://schemas.microsoft.com/office/drawing/2014/main" id="{57DC951C-8030-862E-1946-85D33CE944F4}"/>
              </a:ext>
            </a:extLst>
          </p:cNvPr>
          <p:cNvSpPr/>
          <p:nvPr/>
        </p:nvSpPr>
        <p:spPr bwMode="auto">
          <a:xfrm>
            <a:off x="6963793" y="3199429"/>
            <a:ext cx="1044000" cy="1044000"/>
          </a:xfrm>
          <a:prstGeom prst="mathEqual">
            <a:avLst/>
          </a:prstGeom>
          <a:solidFill>
            <a:schemeClr val="accent2"/>
          </a:solidFill>
          <a:ln w="12700" algn="ctr">
            <a:solidFill>
              <a:srgbClr val="0088AE"/>
            </a:solid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sp>
        <p:nvSpPr>
          <p:cNvPr id="18" name="Textfeld 17">
            <a:extLst>
              <a:ext uri="{FF2B5EF4-FFF2-40B4-BE49-F238E27FC236}">
                <a16:creationId xmlns:a16="http://schemas.microsoft.com/office/drawing/2014/main" id="{5AE507DE-CFB9-0C25-38A8-FEDC4347EB47}"/>
              </a:ext>
            </a:extLst>
          </p:cNvPr>
          <p:cNvSpPr txBox="1"/>
          <p:nvPr/>
        </p:nvSpPr>
        <p:spPr>
          <a:xfrm>
            <a:off x="479425" y="5223330"/>
            <a:ext cx="9879558" cy="338554"/>
          </a:xfrm>
          <a:prstGeom prst="rect">
            <a:avLst/>
          </a:prstGeom>
          <a:noFill/>
        </p:spPr>
        <p:txBody>
          <a:bodyPr wrap="square" rtlCol="0">
            <a:spAutoFit/>
          </a:bodyPr>
          <a:lstStyle/>
          <a:p>
            <a:r>
              <a:rPr lang="de-DE" sz="1600" dirty="0">
                <a:ea typeface="Yu Gothic Light" panose="020B0300000000000000" pitchFamily="34" charset="-128"/>
                <a:cs typeface="Arial" panose="020B0604020202020204" pitchFamily="34" charset="0"/>
              </a:rPr>
              <a:t>Ruhegehaltsfähige Dienstbezüge sind hier aber die Bezüge, die ich bis zum Ruhestand hätte </a:t>
            </a:r>
            <a:r>
              <a:rPr lang="de-DE" sz="1600" dirty="0" err="1">
                <a:ea typeface="Yu Gothic Light" panose="020B0300000000000000" pitchFamily="34" charset="-128"/>
                <a:cs typeface="Arial" panose="020B0604020202020204" pitchFamily="34" charset="0"/>
              </a:rPr>
              <a:t>erdienen</a:t>
            </a:r>
            <a:r>
              <a:rPr lang="de-DE" sz="1600" dirty="0">
                <a:ea typeface="Yu Gothic Light" panose="020B0300000000000000" pitchFamily="34" charset="-128"/>
                <a:cs typeface="Arial" panose="020B0604020202020204" pitchFamily="34" charset="0"/>
              </a:rPr>
              <a:t> können...</a:t>
            </a:r>
          </a:p>
        </p:txBody>
      </p:sp>
      <p:sp>
        <p:nvSpPr>
          <p:cNvPr id="24" name="Textfeld 23">
            <a:extLst>
              <a:ext uri="{FF2B5EF4-FFF2-40B4-BE49-F238E27FC236}">
                <a16:creationId xmlns:a16="http://schemas.microsoft.com/office/drawing/2014/main" id="{5802EB79-94D0-AF28-3226-64C5978715C6}"/>
              </a:ext>
            </a:extLst>
          </p:cNvPr>
          <p:cNvSpPr txBox="1"/>
          <p:nvPr/>
        </p:nvSpPr>
        <p:spPr>
          <a:xfrm>
            <a:off x="479425" y="1388531"/>
            <a:ext cx="10362746" cy="830997"/>
          </a:xfrm>
          <a:prstGeom prst="rect">
            <a:avLst/>
          </a:prstGeom>
          <a:noFill/>
        </p:spPr>
        <p:txBody>
          <a:bodyPr wrap="square">
            <a:spAutoFit/>
          </a:bodyPr>
          <a:lstStyle/>
          <a:p>
            <a:r>
              <a:rPr lang="de-DE" sz="1600" dirty="0"/>
              <a:t>Das Mindest-Unfall-Ruhegehalt beträgt 66,7% der ruhegehaltsfähigen Dienstbezüge. Das Maximum liegt bei 75%. In mittlerweile 10 Ländern gilt auch hier die Grenze auf 71,75%. Die Zurechnungszeiten bis zur Regelaltersgrenze sind nur zur Hälfte anzurechnen. Dafür werden pauschal 20% aufgeschlagen. Der Unfall ist geregelt in BeamtVG §31.</a:t>
            </a:r>
          </a:p>
        </p:txBody>
      </p:sp>
    </p:spTree>
    <p:extLst>
      <p:ext uri="{BB962C8B-B14F-4D97-AF65-F5344CB8AC3E}">
        <p14:creationId xmlns:p14="http://schemas.microsoft.com/office/powerpoint/2010/main" val="3107482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Berechnung des erhöhten Unfallruhegehalts</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hoch ist das Ruhegehalt?</a:t>
            </a:r>
          </a:p>
        </p:txBody>
      </p:sp>
      <p:sp>
        <p:nvSpPr>
          <p:cNvPr id="18" name="Textfeld 17">
            <a:extLst>
              <a:ext uri="{FF2B5EF4-FFF2-40B4-BE49-F238E27FC236}">
                <a16:creationId xmlns:a16="http://schemas.microsoft.com/office/drawing/2014/main" id="{5AE507DE-CFB9-0C25-38A8-FEDC4347EB47}"/>
              </a:ext>
            </a:extLst>
          </p:cNvPr>
          <p:cNvSpPr txBox="1"/>
          <p:nvPr/>
        </p:nvSpPr>
        <p:spPr>
          <a:xfrm>
            <a:off x="479425" y="5223330"/>
            <a:ext cx="9879558" cy="584775"/>
          </a:xfrm>
          <a:prstGeom prst="rect">
            <a:avLst/>
          </a:prstGeom>
          <a:noFill/>
        </p:spPr>
        <p:txBody>
          <a:bodyPr wrap="square" rtlCol="0">
            <a:spAutoFit/>
          </a:bodyPr>
          <a:lstStyle/>
          <a:p>
            <a:r>
              <a:rPr lang="de-DE" sz="1600" dirty="0">
                <a:ea typeface="Yu Gothic Light" panose="020B0300000000000000" pitchFamily="34" charset="-128"/>
                <a:cs typeface="Arial" panose="020B0604020202020204" pitchFamily="34" charset="0"/>
              </a:rPr>
              <a:t>Angenommen, ein Polizeibeamter ist seit 5 Jahren in A7 verbeamtet und erhält 2.723,09 Euro monatlich, so bekommt er nach einem Dienstunfall 80% der Endstufe von A9. Das sind 3.754,27 Euro x 80%= 3.003,42 Euro. </a:t>
            </a:r>
          </a:p>
        </p:txBody>
      </p:sp>
      <p:sp>
        <p:nvSpPr>
          <p:cNvPr id="24" name="Textfeld 23">
            <a:extLst>
              <a:ext uri="{FF2B5EF4-FFF2-40B4-BE49-F238E27FC236}">
                <a16:creationId xmlns:a16="http://schemas.microsoft.com/office/drawing/2014/main" id="{5802EB79-94D0-AF28-3226-64C5978715C6}"/>
              </a:ext>
            </a:extLst>
          </p:cNvPr>
          <p:cNvSpPr txBox="1"/>
          <p:nvPr/>
        </p:nvSpPr>
        <p:spPr>
          <a:xfrm>
            <a:off x="479425" y="1647054"/>
            <a:ext cx="10362746" cy="830997"/>
          </a:xfrm>
          <a:prstGeom prst="rect">
            <a:avLst/>
          </a:prstGeom>
          <a:noFill/>
        </p:spPr>
        <p:txBody>
          <a:bodyPr wrap="square">
            <a:spAutoFit/>
          </a:bodyPr>
          <a:lstStyle/>
          <a:p>
            <a:r>
              <a:rPr lang="de-DE" sz="1600" dirty="0"/>
              <a:t>Bei einem qualifizierten Dienstunfall nach § 37 BeamtVG erhält der Beamte, der bei Ausübung einer Diensthandlung, die lebensgefährlich ist, einen Unfall erleidet und zu mindestens 50% erwerbsunfähig ist, erhält 80% der letzten Stufe der übernächsten Besoldungsgruppe. </a:t>
            </a:r>
          </a:p>
        </p:txBody>
      </p:sp>
      <p:sp>
        <p:nvSpPr>
          <p:cNvPr id="19" name="Textfeld 18">
            <a:extLst>
              <a:ext uri="{FF2B5EF4-FFF2-40B4-BE49-F238E27FC236}">
                <a16:creationId xmlns:a16="http://schemas.microsoft.com/office/drawing/2014/main" id="{B3270BC7-64DB-8671-93B0-EA064DDCDE00}"/>
              </a:ext>
            </a:extLst>
          </p:cNvPr>
          <p:cNvSpPr txBox="1"/>
          <p:nvPr/>
        </p:nvSpPr>
        <p:spPr>
          <a:xfrm>
            <a:off x="1648749" y="3660970"/>
            <a:ext cx="7424068" cy="1107996"/>
          </a:xfrm>
          <a:prstGeom prst="rect">
            <a:avLst/>
          </a:prstGeom>
          <a:noFill/>
        </p:spPr>
        <p:txBody>
          <a:bodyPr wrap="square" rtlCol="0">
            <a:spAutoFit/>
          </a:bodyPr>
          <a:lstStyle/>
          <a:p>
            <a:r>
              <a:rPr lang="de-DE" sz="6600" b="1" dirty="0">
                <a:ea typeface="Yu Gothic Light" panose="020B0300000000000000" pitchFamily="34" charset="-128"/>
                <a:cs typeface="Arial" panose="020B0604020202020204" pitchFamily="34" charset="0"/>
              </a:rPr>
              <a:t>A6  A7  A8  A9  A10</a:t>
            </a:r>
          </a:p>
        </p:txBody>
      </p:sp>
      <p:sp>
        <p:nvSpPr>
          <p:cNvPr id="20" name="Pfeil: 180-Grad 19">
            <a:extLst>
              <a:ext uri="{FF2B5EF4-FFF2-40B4-BE49-F238E27FC236}">
                <a16:creationId xmlns:a16="http://schemas.microsoft.com/office/drawing/2014/main" id="{2998D46C-213E-2CA0-C486-7B82E78D2AD0}"/>
              </a:ext>
            </a:extLst>
          </p:cNvPr>
          <p:cNvSpPr/>
          <p:nvPr/>
        </p:nvSpPr>
        <p:spPr bwMode="auto">
          <a:xfrm>
            <a:off x="3585187" y="3336667"/>
            <a:ext cx="3019425" cy="184666"/>
          </a:xfrm>
          <a:prstGeom prst="uturnArrow">
            <a:avLst/>
          </a:prstGeom>
          <a:solidFill>
            <a:schemeClr val="tx1"/>
          </a:solidFill>
          <a:ln w="12700" algn="ctr">
            <a:solidFill>
              <a:schemeClr val="tx1"/>
            </a:solid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p>
        </p:txBody>
      </p:sp>
    </p:spTree>
    <p:extLst>
      <p:ext uri="{BB962C8B-B14F-4D97-AF65-F5344CB8AC3E}">
        <p14:creationId xmlns:p14="http://schemas.microsoft.com/office/powerpoint/2010/main" val="3133204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Jetzt kommt die Teil-Dienstfähigkeit</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7" name="Bildplatzhalter 6" descr="Ein Bild, das Person, Kleidung, Menschliches Gesicht, Lächeln enthält.&#10;&#10;Automatisch generierte Beschreibung">
            <a:extLst>
              <a:ext uri="{FF2B5EF4-FFF2-40B4-BE49-F238E27FC236}">
                <a16:creationId xmlns:a16="http://schemas.microsoft.com/office/drawing/2014/main" id="{58754D05-AD49-6671-ACC0-52E9C8253DE0}"/>
              </a:ext>
            </a:extLst>
          </p:cNvPr>
          <p:cNvPicPr>
            <a:picLocks noGrp="1" noChangeAspect="1"/>
          </p:cNvPicPr>
          <p:nvPr>
            <p:ph type="pic" sz="quarter" idx="14"/>
          </p:nvPr>
        </p:nvPicPr>
        <p:blipFill>
          <a:blip r:embed="rId2"/>
          <a:srcRect t="9077" b="9077"/>
          <a:stretch>
            <a:fillRect/>
          </a:stretch>
        </p:blipFill>
        <p:spPr/>
      </p:pic>
    </p:spTree>
    <p:extLst>
      <p:ext uri="{BB962C8B-B14F-4D97-AF65-F5344CB8AC3E}">
        <p14:creationId xmlns:p14="http://schemas.microsoft.com/office/powerpoint/2010/main" val="1337636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er Experte nennt es „begrenzte Dienstfähigk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Teil-DU-Klausel</a:t>
            </a:r>
          </a:p>
        </p:txBody>
      </p:sp>
      <p:pic>
        <p:nvPicPr>
          <p:cNvPr id="4" name="Picture 3">
            <a:extLst>
              <a:ext uri="{FF2B5EF4-FFF2-40B4-BE49-F238E27FC236}">
                <a16:creationId xmlns:a16="http://schemas.microsoft.com/office/drawing/2014/main" id="{60166CE3-6DB5-8576-D7A8-6D57A95DAC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28888" y="2022355"/>
            <a:ext cx="7134225" cy="3486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9115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So sind die Ansprüche bei „begrenzter Dienstfähigk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Teil-DU-Klausel</a:t>
            </a:r>
          </a:p>
        </p:txBody>
      </p:sp>
      <p:pic>
        <p:nvPicPr>
          <p:cNvPr id="3" name="Picture 2">
            <a:extLst>
              <a:ext uri="{FF2B5EF4-FFF2-40B4-BE49-F238E27FC236}">
                <a16:creationId xmlns:a16="http://schemas.microsoft.com/office/drawing/2014/main" id="{21654924-BCCF-B8BA-9284-BAA4D352273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649" y="1561428"/>
            <a:ext cx="7442026" cy="71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a:extLst>
              <a:ext uri="{FF2B5EF4-FFF2-40B4-BE49-F238E27FC236}">
                <a16:creationId xmlns:a16="http://schemas.microsoft.com/office/drawing/2014/main" id="{D354970C-3FC1-D181-A4F9-17312FBD67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648" y="2952204"/>
            <a:ext cx="7670399" cy="55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BF827671-30D7-4CEE-5C71-F4D6614A421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649" y="4173393"/>
            <a:ext cx="7670399" cy="14700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5551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So sind die Ansprüche bei „begrenzter Dienstfähigk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Teil-DU-Klausel</a:t>
            </a:r>
          </a:p>
        </p:txBody>
      </p:sp>
      <p:sp>
        <p:nvSpPr>
          <p:cNvPr id="4" name="Textfeld 3">
            <a:extLst>
              <a:ext uri="{FF2B5EF4-FFF2-40B4-BE49-F238E27FC236}">
                <a16:creationId xmlns:a16="http://schemas.microsoft.com/office/drawing/2014/main" id="{0FFCCF2D-EE8E-887B-C4E8-96CE6DBBBD93}"/>
              </a:ext>
            </a:extLst>
          </p:cNvPr>
          <p:cNvSpPr txBox="1"/>
          <p:nvPr/>
        </p:nvSpPr>
        <p:spPr>
          <a:xfrm>
            <a:off x="479425" y="1647054"/>
            <a:ext cx="10362746" cy="3785652"/>
          </a:xfrm>
          <a:prstGeom prst="rect">
            <a:avLst/>
          </a:prstGeom>
          <a:noFill/>
        </p:spPr>
        <p:txBody>
          <a:bodyPr wrap="square">
            <a:spAutoFit/>
          </a:bodyPr>
          <a:lstStyle/>
          <a:p>
            <a:r>
              <a:rPr lang="de-DE" sz="1600" dirty="0"/>
              <a:t>Die genaue Ausgestaltung liegt wieder bei den Ländern. Aber der Bund und fast alle Länder handhaben es so, wie gerade gesehen. </a:t>
            </a:r>
          </a:p>
          <a:p>
            <a:endParaRPr lang="de-DE" sz="1600" dirty="0"/>
          </a:p>
          <a:p>
            <a:r>
              <a:rPr lang="de-DE" sz="1600" dirty="0"/>
              <a:t>Die Formel lautet also:</a:t>
            </a:r>
          </a:p>
          <a:p>
            <a:endParaRPr lang="de-DE" sz="1600" dirty="0"/>
          </a:p>
          <a:p>
            <a:r>
              <a:rPr lang="de-DE" sz="1600" dirty="0"/>
              <a:t>Ruhegehaltsfähige Besoldung (RB) x % der geleisteten Arbeitszeit + (RB x % der nicht geleisteten Arbeitszeit) : 2</a:t>
            </a:r>
          </a:p>
          <a:p>
            <a:endParaRPr lang="de-DE" sz="1600" dirty="0"/>
          </a:p>
          <a:p>
            <a:r>
              <a:rPr lang="de-DE" sz="1600" dirty="0"/>
              <a:t>Wer also wegen begrenzter Dienstfähigkeit 60% in Teilzeit arbeitet, erhält </a:t>
            </a:r>
          </a:p>
          <a:p>
            <a:endParaRPr lang="de-DE" sz="1600" dirty="0"/>
          </a:p>
          <a:p>
            <a:r>
              <a:rPr lang="de-DE" sz="1600" dirty="0"/>
              <a:t>RB x 60% + (RB x 40%):2 = RB x 60% + 20% = 80% der RB</a:t>
            </a:r>
          </a:p>
          <a:p>
            <a:endParaRPr lang="de-DE" sz="1600" dirty="0"/>
          </a:p>
          <a:p>
            <a:r>
              <a:rPr lang="de-DE" sz="1600" dirty="0"/>
              <a:t>Hessen ist anders. Der Zuschlag beträgt 35% der nicht geleisteten Arbeitszeit, aber der Zuschlag erhöht sich im Verhältnis der ruhegehaltsfähigen Dienstzeiten. Ab 5 Jahren gibt es 5% dazu, ab 10 Jahren 10%, ab 15 Jahren dann 15% und mit 20 Jahren ist das Maximum von 20% erreicht. Insgesamt sind also 35%+20%=55% möglich. </a:t>
            </a:r>
          </a:p>
          <a:p>
            <a:endParaRPr lang="de-DE" sz="1600" dirty="0"/>
          </a:p>
        </p:txBody>
      </p:sp>
    </p:spTree>
    <p:extLst>
      <p:ext uri="{BB962C8B-B14F-4D97-AF65-F5344CB8AC3E}">
        <p14:creationId xmlns:p14="http://schemas.microsoft.com/office/powerpoint/2010/main" val="3643481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5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fade">
                                      <p:cBhvr>
                                        <p:cTn id="27" dur="500"/>
                                        <p:tgtEl>
                                          <p:spTgt spid="4">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10" end="10"/>
                                            </p:txEl>
                                          </p:spTgt>
                                        </p:tgtEl>
                                        <p:attrNameLst>
                                          <p:attrName>style.visibility</p:attrName>
                                        </p:attrNameLst>
                                      </p:cBhvr>
                                      <p:to>
                                        <p:strVal val="visible"/>
                                      </p:to>
                                    </p:set>
                                    <p:animEffect transition="in" filter="fade">
                                      <p:cBhvr>
                                        <p:cTn id="32"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Welche Ansprüche hat ein Beamter?</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8" name="Bildplatzhalter 7" descr="Ein Bild, das Menschliches Gesicht, Person, Kleidung, Gebäude enthält.&#10;&#10;Automatisch generierte Beschreibung">
            <a:extLst>
              <a:ext uri="{FF2B5EF4-FFF2-40B4-BE49-F238E27FC236}">
                <a16:creationId xmlns:a16="http://schemas.microsoft.com/office/drawing/2014/main" id="{22CC2EBB-13C5-4FFE-7C06-BB23ACADCC10}"/>
              </a:ext>
            </a:extLst>
          </p:cNvPr>
          <p:cNvPicPr>
            <a:picLocks noGrp="1" noChangeAspect="1"/>
          </p:cNvPicPr>
          <p:nvPr>
            <p:ph type="pic" sz="quarter" idx="14"/>
          </p:nvPr>
        </p:nvPicPr>
        <p:blipFill>
          <a:blip r:embed="rId2"/>
          <a:srcRect t="8058" b="8058"/>
          <a:stretch>
            <a:fillRect/>
          </a:stretch>
        </p:blipFill>
        <p:spPr>
          <a:xfrm>
            <a:off x="200439" y="211703"/>
            <a:ext cx="11791121" cy="6434593"/>
          </a:xfrm>
        </p:spPr>
      </p:pic>
    </p:spTree>
    <p:extLst>
      <p:ext uri="{BB962C8B-B14F-4D97-AF65-F5344CB8AC3E}">
        <p14:creationId xmlns:p14="http://schemas.microsoft.com/office/powerpoint/2010/main" val="1357229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FFF7E21-80BF-46C9-B8E4-2728DDBB8D9D}"/>
              </a:ext>
            </a:extLst>
          </p:cNvPr>
          <p:cNvGraphicFramePr>
            <a:graphicFrameLocks noChangeAspect="1"/>
          </p:cNvGraphicFramePr>
          <p:nvPr>
            <p:custDataLst>
              <p:tags r:id="rId1"/>
            </p:custDataLst>
            <p:extLst>
              <p:ext uri="{D42A27DB-BD31-4B8C-83A1-F6EECF244321}">
                <p14:modId xmlns:p14="http://schemas.microsoft.com/office/powerpoint/2010/main" val="86043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7FFF7E21-80BF-46C9-B8E4-2728DDBB8D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platzhalter 9" descr="Ein Bild, das Person, Frau, Getränk, Restaurant enthält.&#10;&#10;Automatisch generierte Beschreibung">
            <a:extLst>
              <a:ext uri="{FF2B5EF4-FFF2-40B4-BE49-F238E27FC236}">
                <a16:creationId xmlns:a16="http://schemas.microsoft.com/office/drawing/2014/main" id="{3D95A2D8-ED38-45CE-8F73-7CC7F60CE745}"/>
              </a:ext>
            </a:extLst>
          </p:cNvPr>
          <p:cNvPicPr>
            <a:picLocks noGrp="1" noChangeAspect="1"/>
          </p:cNvPicPr>
          <p:nvPr>
            <p:ph type="pic" sz="quarter" idx="14"/>
          </p:nvPr>
        </p:nvPicPr>
        <p:blipFill rotWithShape="1">
          <a:blip r:embed="rId5"/>
          <a:srcRect t="9067" b="9067"/>
          <a:stretch/>
        </p:blipFill>
        <p:spPr>
          <a:xfrm>
            <a:off x="200438" y="211702"/>
            <a:ext cx="11791121" cy="6434593"/>
          </a:xfrm>
        </p:spPr>
      </p:pic>
      <p:sp>
        <p:nvSpPr>
          <p:cNvPr id="14" name="Titel 13">
            <a:extLst>
              <a:ext uri="{FF2B5EF4-FFF2-40B4-BE49-F238E27FC236}">
                <a16:creationId xmlns:a16="http://schemas.microsoft.com/office/drawing/2014/main" id="{5D72B112-29C1-4C7A-B333-C111231DADBE}"/>
              </a:ext>
            </a:extLst>
          </p:cNvPr>
          <p:cNvSpPr>
            <a:spLocks noGrp="1"/>
          </p:cNvSpPr>
          <p:nvPr>
            <p:ph type="ctrTitle"/>
          </p:nvPr>
        </p:nvSpPr>
        <p:spPr>
          <a:xfrm>
            <a:off x="1042286" y="4182990"/>
            <a:ext cx="4332989" cy="893771"/>
          </a:xfrm>
        </p:spPr>
        <p:txBody>
          <a:bodyPr vert="horz"/>
          <a:lstStyle/>
          <a:p>
            <a:r>
              <a:rPr lang="de-DE" dirty="0"/>
              <a:t>Herzlichen Dank!</a:t>
            </a:r>
          </a:p>
        </p:txBody>
      </p:sp>
      <p:sp>
        <p:nvSpPr>
          <p:cNvPr id="15" name="Untertitel 14">
            <a:extLst>
              <a:ext uri="{FF2B5EF4-FFF2-40B4-BE49-F238E27FC236}">
                <a16:creationId xmlns:a16="http://schemas.microsoft.com/office/drawing/2014/main" id="{5E371E36-018E-46F4-8F7A-947805223686}"/>
              </a:ext>
            </a:extLst>
          </p:cNvPr>
          <p:cNvSpPr>
            <a:spLocks noGrp="1"/>
          </p:cNvSpPr>
          <p:nvPr>
            <p:ph type="subTitle" idx="1"/>
          </p:nvPr>
        </p:nvSpPr>
        <p:spPr>
          <a:xfrm>
            <a:off x="1042285" y="5177005"/>
            <a:ext cx="4332988" cy="553998"/>
          </a:xfrm>
        </p:spPr>
        <p:txBody>
          <a:bodyPr/>
          <a:lstStyle/>
          <a:p>
            <a:r>
              <a:rPr lang="de-DE" dirty="0"/>
              <a:t>Wenn ihr Fragen habt oder euch was aufgefallen ist, dann schreibt mir!</a:t>
            </a:r>
          </a:p>
        </p:txBody>
      </p:sp>
      <p:sp>
        <p:nvSpPr>
          <p:cNvPr id="16" name="Textplatzhalter 15">
            <a:extLst>
              <a:ext uri="{FF2B5EF4-FFF2-40B4-BE49-F238E27FC236}">
                <a16:creationId xmlns:a16="http://schemas.microsoft.com/office/drawing/2014/main" id="{66B2BD28-D863-4EC9-B1AF-3E90355348BA}"/>
              </a:ext>
            </a:extLst>
          </p:cNvPr>
          <p:cNvSpPr>
            <a:spLocks noGrp="1"/>
          </p:cNvSpPr>
          <p:nvPr>
            <p:ph type="body" sz="quarter" idx="13"/>
          </p:nvPr>
        </p:nvSpPr>
        <p:spPr>
          <a:xfrm>
            <a:off x="1042286" y="5903220"/>
            <a:ext cx="4332988" cy="184666"/>
          </a:xfrm>
        </p:spPr>
        <p:txBody>
          <a:bodyPr/>
          <a:lstStyle/>
          <a:p>
            <a:r>
              <a:rPr lang="de-DE" dirty="0"/>
              <a:t>Philip Wenzel| p.wenzel@fondsfinanz.de</a:t>
            </a:r>
          </a:p>
        </p:txBody>
      </p:sp>
    </p:spTree>
    <p:extLst>
      <p:ext uri="{BB962C8B-B14F-4D97-AF65-F5344CB8AC3E}">
        <p14:creationId xmlns:p14="http://schemas.microsoft.com/office/powerpoint/2010/main" val="714912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Ansprüche eines Beamten</a:t>
            </a:r>
          </a:p>
        </p:txBody>
      </p:sp>
      <p:sp>
        <p:nvSpPr>
          <p:cNvPr id="6" name="Titel 5">
            <a:extLst>
              <a:ext uri="{FF2B5EF4-FFF2-40B4-BE49-F238E27FC236}">
                <a16:creationId xmlns:a16="http://schemas.microsoft.com/office/drawing/2014/main" id="{EEB34E87-F2D5-2580-89DB-C99FEB717D55}"/>
              </a:ext>
            </a:extLst>
          </p:cNvPr>
          <p:cNvSpPr>
            <a:spLocks noGrp="1"/>
          </p:cNvSpPr>
          <p:nvPr>
            <p:ph type="title"/>
          </p:nvPr>
        </p:nvSpPr>
        <p:spPr>
          <a:xfrm>
            <a:off x="386119" y="2634030"/>
            <a:ext cx="11233150" cy="443198"/>
          </a:xfrm>
        </p:spPr>
        <p:txBody>
          <a:bodyPr/>
          <a:lstStyle/>
          <a:p>
            <a:r>
              <a:rPr lang="de-DE" dirty="0"/>
              <a:t>LÖSCH HIER DIE SEITEN, DIE DU NICHT BRAUCHST! WENN DER BEAMTE SCHON AUF LEBENSZEIT VERBEAMTET IST, LANGWEILE IHR NICHT MIT DEN ANSPRÜCHEN DER BAW UND BAP…</a:t>
            </a:r>
          </a:p>
        </p:txBody>
      </p:sp>
    </p:spTree>
    <p:extLst>
      <p:ext uri="{BB962C8B-B14F-4D97-AF65-F5344CB8AC3E}">
        <p14:creationId xmlns:p14="http://schemas.microsoft.com/office/powerpoint/2010/main" val="1174452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er Beamte auf Widerruf</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Ansprüche eines Beamten </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4" y="1682440"/>
            <a:ext cx="8974969"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pPr marL="285750" indent="-285750">
              <a:buFont typeface="Arial" panose="020B0604020202020204" pitchFamily="34" charset="0"/>
              <a:buChar char="•"/>
            </a:pPr>
            <a:r>
              <a:rPr lang="de-DE" sz="1600" b="0" dirty="0"/>
              <a:t>Bei Krankheit oder Freizeitunfall hat der </a:t>
            </a:r>
            <a:r>
              <a:rPr lang="de-DE" sz="1600" b="0" dirty="0" err="1"/>
              <a:t>BaW</a:t>
            </a:r>
            <a:r>
              <a:rPr lang="de-DE" sz="1600" b="0" dirty="0"/>
              <a:t> keinerlei Ansprüche an den Dienstherrn. </a:t>
            </a:r>
          </a:p>
          <a:p>
            <a:pPr marL="285750" indent="-285750">
              <a:buFont typeface="Arial" panose="020B0604020202020204" pitchFamily="34" charset="0"/>
              <a:buChar char="•"/>
            </a:pPr>
            <a:r>
              <a:rPr lang="de-DE" sz="1600" b="0" dirty="0"/>
              <a:t>Der </a:t>
            </a:r>
            <a:r>
              <a:rPr lang="de-DE" sz="1600" b="0" dirty="0" err="1"/>
              <a:t>BaW</a:t>
            </a:r>
            <a:r>
              <a:rPr lang="de-DE" sz="1600" b="0" dirty="0"/>
              <a:t> hat nur Ansprüche nach Dienstbeschädigung oder Dienstunfall </a:t>
            </a:r>
            <a:r>
              <a:rPr lang="de-DE" sz="1600" b="0" dirty="0">
                <a:hlinkClick r:id="rId5"/>
              </a:rPr>
              <a:t>(§38 BeamtVG) </a:t>
            </a:r>
            <a:r>
              <a:rPr lang="de-DE" sz="1600" b="0" dirty="0"/>
              <a:t>auf den sogenannten Unterhaltsbeitrag.</a:t>
            </a:r>
          </a:p>
          <a:p>
            <a:pPr marL="285750" indent="-285750">
              <a:buFont typeface="Arial" panose="020B0604020202020204" pitchFamily="34" charset="0"/>
              <a:buChar char="•"/>
            </a:pPr>
            <a:r>
              <a:rPr lang="de-DE" sz="1600" b="0" dirty="0"/>
              <a:t>Bei vollständiger Erwerbsunfähigkeit gibt es 66,7% der ruhegehaltsfähigen Dienstbezüge. Mindestens aber 75% der Endstufe aus A4. Das sind derzeit ca. 2.000 Euro.</a:t>
            </a:r>
          </a:p>
          <a:p>
            <a:pPr marL="285750" indent="-285750">
              <a:buFont typeface="Arial" panose="020B0604020202020204" pitchFamily="34" charset="0"/>
              <a:buChar char="•"/>
            </a:pPr>
            <a:r>
              <a:rPr lang="de-DE" sz="1600" b="0" dirty="0"/>
              <a:t>Ab einer Erwerbsunfähigkeit von 25% gibt es den entsprechenden Anteil des Unterhaltbeitrags. </a:t>
            </a:r>
          </a:p>
          <a:p>
            <a:pPr marL="285750" indent="-285750">
              <a:buFont typeface="Arial" panose="020B0604020202020204" pitchFamily="34" charset="0"/>
              <a:buChar char="•"/>
            </a:pPr>
            <a:r>
              <a:rPr lang="de-DE" sz="1600" b="0" dirty="0"/>
              <a:t>Der entlassene Beamte wird rückwirkend gesetzlich versichert. Da in der Regel die Wartezeit nicht erfüllt sein dürfte, gibt es hier keine Ansprüche. Wenn das erste Ausbildungsjahr abgeschlossen wurde, hat der </a:t>
            </a:r>
            <a:r>
              <a:rPr lang="de-DE" sz="1600" b="0" dirty="0" err="1"/>
              <a:t>BaW</a:t>
            </a:r>
            <a:r>
              <a:rPr lang="de-DE" sz="1600" b="0" dirty="0"/>
              <a:t> Anspruch auf die volle Erwerbsminderungsrente, aber nicht auf die halbe. </a:t>
            </a:r>
          </a:p>
        </p:txBody>
      </p:sp>
      <p:graphicFrame>
        <p:nvGraphicFramePr>
          <p:cNvPr id="4" name="Tabelle 3">
            <a:extLst>
              <a:ext uri="{FF2B5EF4-FFF2-40B4-BE49-F238E27FC236}">
                <a16:creationId xmlns:a16="http://schemas.microsoft.com/office/drawing/2014/main" id="{C7569321-A35E-A78F-7716-A6E3F6E373BC}"/>
              </a:ext>
            </a:extLst>
          </p:cNvPr>
          <p:cNvGraphicFramePr>
            <a:graphicFrameLocks noGrp="1"/>
          </p:cNvGraphicFramePr>
          <p:nvPr>
            <p:extLst>
              <p:ext uri="{D42A27DB-BD31-4B8C-83A1-F6EECF244321}">
                <p14:modId xmlns:p14="http://schemas.microsoft.com/office/powerpoint/2010/main" val="4025134430"/>
              </p:ext>
            </p:extLst>
          </p:nvPr>
        </p:nvGraphicFramePr>
        <p:xfrm>
          <a:off x="479424" y="4776681"/>
          <a:ext cx="6164658" cy="1432560"/>
        </p:xfrm>
        <a:graphic>
          <a:graphicData uri="http://schemas.openxmlformats.org/drawingml/2006/table">
            <a:tbl>
              <a:tblPr firstRow="1" bandRow="1">
                <a:tableStyleId>{073A0DAA-6AF3-43AB-8588-CEC1D06C72B9}</a:tableStyleId>
              </a:tblPr>
              <a:tblGrid>
                <a:gridCol w="3082329">
                  <a:extLst>
                    <a:ext uri="{9D8B030D-6E8A-4147-A177-3AD203B41FA5}">
                      <a16:colId xmlns:a16="http://schemas.microsoft.com/office/drawing/2014/main" val="2469774688"/>
                    </a:ext>
                  </a:extLst>
                </a:gridCol>
                <a:gridCol w="3082329">
                  <a:extLst>
                    <a:ext uri="{9D8B030D-6E8A-4147-A177-3AD203B41FA5}">
                      <a16:colId xmlns:a16="http://schemas.microsoft.com/office/drawing/2014/main" val="2904575500"/>
                    </a:ext>
                  </a:extLst>
                </a:gridCol>
              </a:tblGrid>
              <a:tr h="308755">
                <a:tc>
                  <a:txBody>
                    <a:bodyPr/>
                    <a:lstStyle/>
                    <a:p>
                      <a:endParaRPr lang="de-DE" sz="1600" dirty="0">
                        <a:latin typeface="+mn-lt"/>
                        <a:ea typeface="Yu Gothic Light" panose="020B0300000000000000" pitchFamily="34" charset="-128"/>
                      </a:endParaRPr>
                    </a:p>
                  </a:txBody>
                  <a:tcPr/>
                </a:tc>
                <a:tc>
                  <a:txBody>
                    <a:bodyPr/>
                    <a:lstStyle/>
                    <a:p>
                      <a:r>
                        <a:rPr lang="de-DE" sz="1600" dirty="0">
                          <a:latin typeface="+mn-lt"/>
                        </a:rPr>
                        <a:t>Beamter auf Widerruf</a:t>
                      </a:r>
                      <a:endParaRPr lang="de-DE" sz="1600" dirty="0">
                        <a:latin typeface="+mn-lt"/>
                        <a:ea typeface="Yu Gothic Light" panose="020B0300000000000000" pitchFamily="34" charset="-128"/>
                      </a:endParaRPr>
                    </a:p>
                  </a:txBody>
                  <a:tcPr/>
                </a:tc>
                <a:extLst>
                  <a:ext uri="{0D108BD9-81ED-4DB2-BD59-A6C34878D82A}">
                    <a16:rowId xmlns:a16="http://schemas.microsoft.com/office/drawing/2014/main" val="1756962065"/>
                  </a:ext>
                </a:extLst>
              </a:tr>
              <a:tr h="0">
                <a:tc>
                  <a:txBody>
                    <a:bodyPr/>
                    <a:lstStyle/>
                    <a:p>
                      <a:r>
                        <a:rPr lang="de-DE" sz="1800" dirty="0">
                          <a:latin typeface="+mn-lt"/>
                        </a:rPr>
                        <a:t>Krankheit oder Freiz</a:t>
                      </a:r>
                      <a:r>
                        <a:rPr lang="de-DE" sz="1800" dirty="0">
                          <a:solidFill>
                            <a:schemeClr val="tx1"/>
                          </a:solidFill>
                          <a:latin typeface="+mn-lt"/>
                        </a:rPr>
                        <a:t>eitunfa</a:t>
                      </a:r>
                      <a:r>
                        <a:rPr lang="de-DE" sz="1800" dirty="0">
                          <a:latin typeface="+mn-lt"/>
                        </a:rPr>
                        <a:t>ll</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800" b="1" dirty="0">
                          <a:solidFill>
                            <a:srgbClr val="CE2828"/>
                          </a:solidFill>
                          <a:latin typeface="+mn-lt"/>
                          <a:sym typeface="Wingdings 2"/>
                        </a:rPr>
                        <a:t></a:t>
                      </a:r>
                      <a:endParaRPr lang="de-DE" sz="1800" b="1" dirty="0">
                        <a:solidFill>
                          <a:srgbClr val="CE2828"/>
                        </a:solidFill>
                        <a:latin typeface="+mn-lt"/>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087185194"/>
                  </a:ext>
                </a:extLst>
              </a:tr>
              <a:tr h="329902">
                <a:tc>
                  <a:txBody>
                    <a:bodyPr/>
                    <a:lstStyle/>
                    <a:p>
                      <a:r>
                        <a:rPr lang="de-DE" sz="1800" dirty="0">
                          <a:latin typeface="+mn-lt"/>
                        </a:rPr>
                        <a:t>Dienstbeschädigung</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200" b="1" dirty="0">
                          <a:solidFill>
                            <a:schemeClr val="tx1"/>
                          </a:solidFill>
                          <a:latin typeface="+mn-lt"/>
                          <a:sym typeface="Wingdings 2"/>
                        </a:rPr>
                        <a:t>Bis zu 66,7%</a:t>
                      </a:r>
                      <a:endParaRPr lang="de-DE" sz="1200" b="1" dirty="0">
                        <a:solidFill>
                          <a:schemeClr val="tx1"/>
                        </a:solidFill>
                        <a:latin typeface="+mn-lt"/>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426048446"/>
                  </a:ext>
                </a:extLst>
              </a:tr>
              <a:tr h="329902">
                <a:tc>
                  <a:txBody>
                    <a:bodyPr/>
                    <a:lstStyle/>
                    <a:p>
                      <a:r>
                        <a:rPr lang="de-DE" sz="1800" dirty="0">
                          <a:latin typeface="+mn-lt"/>
                        </a:rPr>
                        <a:t>Dienstunfall</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200" b="1" dirty="0">
                          <a:solidFill>
                            <a:schemeClr val="tx1"/>
                          </a:solidFill>
                          <a:latin typeface="+mn-lt"/>
                          <a:sym typeface="Wingdings 2"/>
                        </a:rPr>
                        <a:t>Bis zu 66,7%</a:t>
                      </a:r>
                      <a:endParaRPr lang="de-DE" sz="1200" b="1" dirty="0">
                        <a:solidFill>
                          <a:schemeClr val="tx1"/>
                        </a:solidFill>
                        <a:latin typeface="+mn-lt"/>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512589135"/>
                  </a:ext>
                </a:extLst>
              </a:tr>
            </a:tbl>
          </a:graphicData>
        </a:graphic>
      </p:graphicFrame>
    </p:spTree>
    <p:extLst>
      <p:ext uri="{BB962C8B-B14F-4D97-AF65-F5344CB8AC3E}">
        <p14:creationId xmlns:p14="http://schemas.microsoft.com/office/powerpoint/2010/main" val="777377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er Beamte auf Probe</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Ansprüche eines Beamte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682440"/>
            <a:ext cx="904208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pPr marL="285750" indent="-285750">
              <a:buFont typeface="Arial" panose="020B0604020202020204" pitchFamily="34" charset="0"/>
              <a:buChar char="•"/>
            </a:pPr>
            <a:r>
              <a:rPr lang="de-DE" sz="1600" b="0" dirty="0"/>
              <a:t>Bei Krankheit oder Freizeitunfall hat der </a:t>
            </a:r>
            <a:r>
              <a:rPr lang="de-DE" sz="1600" b="0" dirty="0" err="1"/>
              <a:t>BaP</a:t>
            </a:r>
            <a:r>
              <a:rPr lang="de-DE" sz="1600" b="0" dirty="0"/>
              <a:t> in Ausnahmefällen nach </a:t>
            </a:r>
            <a:r>
              <a:rPr lang="de-DE" sz="1600" b="0" dirty="0">
                <a:hlinkClick r:id="rId5"/>
              </a:rPr>
              <a:t>§15 BeamtVG </a:t>
            </a:r>
            <a:r>
              <a:rPr lang="de-DE" sz="1600" b="0" dirty="0"/>
              <a:t>Anspruch auf einen Unterhaltsbeitrag in Höhe des Ruhegehalts. Er hat aber keinen Anspruch darauf und die Ausnahme ist auch nicht definiert. In der Regel hat der Beamte auf Probe bei Krankheit oder Freizeitunfall also keinen Anspruch. </a:t>
            </a:r>
          </a:p>
          <a:p>
            <a:pPr marL="285750" indent="-285750">
              <a:buFont typeface="Arial" panose="020B0604020202020204" pitchFamily="34" charset="0"/>
              <a:buChar char="•"/>
            </a:pPr>
            <a:r>
              <a:rPr lang="de-DE" sz="1600" b="0" dirty="0"/>
              <a:t>Bei Dienstbeschädigung oder Dienstunfall hat der </a:t>
            </a:r>
            <a:r>
              <a:rPr lang="de-DE" sz="1600" b="0" dirty="0" err="1"/>
              <a:t>BaP</a:t>
            </a:r>
            <a:r>
              <a:rPr lang="de-DE" sz="1600" b="0" dirty="0"/>
              <a:t> Anspruch auf ein Ruhegehalt nach </a:t>
            </a:r>
            <a:r>
              <a:rPr lang="de-DE" sz="1600" b="0" dirty="0">
                <a:hlinkClick r:id="rId6"/>
              </a:rPr>
              <a:t>§14 BeamtVG </a:t>
            </a:r>
            <a:r>
              <a:rPr lang="de-DE" sz="1600" b="0" dirty="0"/>
              <a:t>bzw. ein Unfallruhegehalt nach </a:t>
            </a:r>
            <a:r>
              <a:rPr lang="de-DE" sz="1600" b="0" dirty="0">
                <a:hlinkClick r:id="rId7"/>
              </a:rPr>
              <a:t>§36 BeamtVG </a:t>
            </a:r>
            <a:r>
              <a:rPr lang="de-DE" sz="1600" b="0" dirty="0"/>
              <a:t>oder ein erhöhtes Unfallruhegehalt nach </a:t>
            </a:r>
            <a:r>
              <a:rPr lang="de-DE" sz="1600" b="0" dirty="0">
                <a:hlinkClick r:id="rId8"/>
              </a:rPr>
              <a:t>§37 BeamtVG</a:t>
            </a:r>
            <a:r>
              <a:rPr lang="de-DE" sz="1600" b="0" dirty="0"/>
              <a:t>.</a:t>
            </a:r>
          </a:p>
          <a:p>
            <a:pPr marL="285750" indent="-285750">
              <a:buFont typeface="Arial" panose="020B0604020202020204" pitchFamily="34" charset="0"/>
              <a:buChar char="•"/>
            </a:pPr>
            <a:r>
              <a:rPr lang="de-DE" sz="1600" b="0" dirty="0"/>
              <a:t>Der entlassene Beamte wird rückwirkend gesetzlich versichert. Da in der Regel die Wartezeit nicht erfüllt sein dürfte, gibt es hier keine Ansprüche. Wenn das erste Ausbildungsjahr abgeschlossen wurde, hat der </a:t>
            </a:r>
            <a:r>
              <a:rPr lang="de-DE" sz="1600" b="0" dirty="0" err="1"/>
              <a:t>BaP</a:t>
            </a:r>
            <a:r>
              <a:rPr lang="de-DE" sz="1600" b="0" dirty="0"/>
              <a:t> Anspruch auf die volle Erwerbsminderungsrente, aber nicht auf die halbe. </a:t>
            </a:r>
          </a:p>
        </p:txBody>
      </p:sp>
      <p:graphicFrame>
        <p:nvGraphicFramePr>
          <p:cNvPr id="6" name="Tabelle 5">
            <a:extLst>
              <a:ext uri="{FF2B5EF4-FFF2-40B4-BE49-F238E27FC236}">
                <a16:creationId xmlns:a16="http://schemas.microsoft.com/office/drawing/2014/main" id="{3EF32FBB-B836-607A-EBC5-A7F5783C9560}"/>
              </a:ext>
            </a:extLst>
          </p:cNvPr>
          <p:cNvGraphicFramePr>
            <a:graphicFrameLocks noGrp="1"/>
          </p:cNvGraphicFramePr>
          <p:nvPr>
            <p:extLst>
              <p:ext uri="{D42A27DB-BD31-4B8C-83A1-F6EECF244321}">
                <p14:modId xmlns:p14="http://schemas.microsoft.com/office/powerpoint/2010/main" val="505962243"/>
              </p:ext>
            </p:extLst>
          </p:nvPr>
        </p:nvGraphicFramePr>
        <p:xfrm>
          <a:off x="479424" y="4776681"/>
          <a:ext cx="6164658" cy="1432560"/>
        </p:xfrm>
        <a:graphic>
          <a:graphicData uri="http://schemas.openxmlformats.org/drawingml/2006/table">
            <a:tbl>
              <a:tblPr firstRow="1" bandRow="1">
                <a:tableStyleId>{073A0DAA-6AF3-43AB-8588-CEC1D06C72B9}</a:tableStyleId>
              </a:tblPr>
              <a:tblGrid>
                <a:gridCol w="3082329">
                  <a:extLst>
                    <a:ext uri="{9D8B030D-6E8A-4147-A177-3AD203B41FA5}">
                      <a16:colId xmlns:a16="http://schemas.microsoft.com/office/drawing/2014/main" val="2469774688"/>
                    </a:ext>
                  </a:extLst>
                </a:gridCol>
                <a:gridCol w="3082329">
                  <a:extLst>
                    <a:ext uri="{9D8B030D-6E8A-4147-A177-3AD203B41FA5}">
                      <a16:colId xmlns:a16="http://schemas.microsoft.com/office/drawing/2014/main" val="2904575500"/>
                    </a:ext>
                  </a:extLst>
                </a:gridCol>
              </a:tblGrid>
              <a:tr h="308755">
                <a:tc>
                  <a:txBody>
                    <a:bodyPr/>
                    <a:lstStyle/>
                    <a:p>
                      <a:endParaRPr lang="de-DE" sz="1600" dirty="0">
                        <a:latin typeface="+mn-lt"/>
                        <a:ea typeface="Yu Gothic Light" panose="020B0300000000000000" pitchFamily="34" charset="-128"/>
                      </a:endParaRPr>
                    </a:p>
                  </a:txBody>
                  <a:tcPr/>
                </a:tc>
                <a:tc>
                  <a:txBody>
                    <a:bodyPr/>
                    <a:lstStyle/>
                    <a:p>
                      <a:r>
                        <a:rPr lang="de-DE" sz="1600" dirty="0"/>
                        <a:t>Beamte auf Probe</a:t>
                      </a:r>
                      <a:endParaRPr lang="de-DE" sz="1600" dirty="0">
                        <a:latin typeface="Yu Gothic Light" panose="020B0300000000000000" pitchFamily="34" charset="-128"/>
                        <a:ea typeface="Yu Gothic Light" panose="020B0300000000000000" pitchFamily="34" charset="-128"/>
                      </a:endParaRPr>
                    </a:p>
                  </a:txBody>
                  <a:tcPr/>
                </a:tc>
                <a:extLst>
                  <a:ext uri="{0D108BD9-81ED-4DB2-BD59-A6C34878D82A}">
                    <a16:rowId xmlns:a16="http://schemas.microsoft.com/office/drawing/2014/main" val="1756962065"/>
                  </a:ext>
                </a:extLst>
              </a:tr>
              <a:tr h="173103">
                <a:tc>
                  <a:txBody>
                    <a:bodyPr/>
                    <a:lstStyle/>
                    <a:p>
                      <a:r>
                        <a:rPr lang="de-DE" sz="1800" dirty="0">
                          <a:latin typeface="+mn-lt"/>
                        </a:rPr>
                        <a:t>Krankheit oder Freiz</a:t>
                      </a:r>
                      <a:r>
                        <a:rPr lang="de-DE" sz="1800" dirty="0">
                          <a:solidFill>
                            <a:schemeClr val="tx1"/>
                          </a:solidFill>
                          <a:latin typeface="+mn-lt"/>
                        </a:rPr>
                        <a:t>eitunfa</a:t>
                      </a:r>
                      <a:r>
                        <a:rPr lang="de-DE" sz="1800" dirty="0">
                          <a:latin typeface="+mn-lt"/>
                        </a:rPr>
                        <a:t>ll</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200" b="1" dirty="0">
                          <a:solidFill>
                            <a:schemeClr val="tx1"/>
                          </a:solidFill>
                          <a:sym typeface="Wingdings 2"/>
                        </a:rPr>
                        <a:t>Nur in Ausnahmefällen</a:t>
                      </a:r>
                      <a:endParaRPr lang="de-DE" sz="2000" b="1" dirty="0">
                        <a:solidFill>
                          <a:schemeClr val="tx1"/>
                        </a:solidFill>
                        <a:latin typeface="Yu Gothic Light" panose="020B0300000000000000" pitchFamily="34" charset="-128"/>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087185194"/>
                  </a:ext>
                </a:extLst>
              </a:tr>
              <a:tr h="329902">
                <a:tc>
                  <a:txBody>
                    <a:bodyPr/>
                    <a:lstStyle/>
                    <a:p>
                      <a:r>
                        <a:rPr lang="de-DE" sz="1800" dirty="0">
                          <a:latin typeface="+mn-lt"/>
                        </a:rPr>
                        <a:t>Dienstbeschädigung</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200" b="1" dirty="0">
                          <a:solidFill>
                            <a:schemeClr val="tx1"/>
                          </a:solidFill>
                          <a:sym typeface="Wingdings 2"/>
                        </a:rPr>
                        <a:t>Zwischen 35%-71,75%</a:t>
                      </a:r>
                      <a:endParaRPr lang="de-DE" sz="1200" b="1" dirty="0">
                        <a:solidFill>
                          <a:schemeClr val="tx1"/>
                        </a:solidFill>
                        <a:latin typeface="Yu Gothic Light" panose="020B0300000000000000" pitchFamily="34" charset="-128"/>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426048446"/>
                  </a:ext>
                </a:extLst>
              </a:tr>
              <a:tr h="329902">
                <a:tc>
                  <a:txBody>
                    <a:bodyPr/>
                    <a:lstStyle/>
                    <a:p>
                      <a:r>
                        <a:rPr lang="de-DE" sz="1800" dirty="0">
                          <a:latin typeface="+mn-lt"/>
                        </a:rPr>
                        <a:t>Dienstunfall</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200" b="1" dirty="0">
                          <a:solidFill>
                            <a:schemeClr val="tx1"/>
                          </a:solidFill>
                          <a:sym typeface="Wingdings 2"/>
                        </a:rPr>
                        <a:t>Zwischen 66,7%-75%</a:t>
                      </a:r>
                      <a:endParaRPr lang="de-DE" sz="1200" b="1" dirty="0">
                        <a:solidFill>
                          <a:schemeClr val="tx1"/>
                        </a:solidFill>
                        <a:latin typeface="Yu Gothic Light" panose="020B0300000000000000" pitchFamily="34" charset="-128"/>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512589135"/>
                  </a:ext>
                </a:extLst>
              </a:tr>
            </a:tbl>
          </a:graphicData>
        </a:graphic>
      </p:graphicFrame>
    </p:spTree>
    <p:extLst>
      <p:ext uri="{BB962C8B-B14F-4D97-AF65-F5344CB8AC3E}">
        <p14:creationId xmlns:p14="http://schemas.microsoft.com/office/powerpoint/2010/main" val="3897335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er Beamte auf Lebensz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Ansprüche eines Beamte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4" y="1682440"/>
            <a:ext cx="9427973"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pPr marL="285750" indent="-285750">
              <a:buFont typeface="Arial" panose="020B0604020202020204" pitchFamily="34" charset="0"/>
              <a:buChar char="•"/>
            </a:pPr>
            <a:r>
              <a:rPr lang="de-DE" sz="1600" b="0" dirty="0"/>
              <a:t>Der </a:t>
            </a:r>
            <a:r>
              <a:rPr lang="de-DE" sz="1600" b="0" dirty="0" err="1"/>
              <a:t>BaL</a:t>
            </a:r>
            <a:r>
              <a:rPr lang="de-DE" sz="1600" b="0" dirty="0"/>
              <a:t> hat Anspruch auf ein Ruhegehalt nach </a:t>
            </a:r>
            <a:r>
              <a:rPr lang="de-DE" sz="1600" b="0" dirty="0">
                <a:hlinkClick r:id="rId5"/>
              </a:rPr>
              <a:t>§ 14 BeamtVG</a:t>
            </a:r>
            <a:r>
              <a:rPr lang="de-DE" sz="1600" b="0" dirty="0"/>
              <a:t>.  Der Anspruch entsteht bei Versetzung in den Ruhestand. Bis dahin bezieht er auch bei längerer gesundheitlicher Einschränkung seine volle Besoldung.</a:t>
            </a:r>
          </a:p>
          <a:p>
            <a:pPr marL="285750" indent="-285750">
              <a:buFont typeface="Arial" panose="020B0604020202020204" pitchFamily="34" charset="0"/>
              <a:buChar char="•"/>
            </a:pPr>
            <a:r>
              <a:rPr lang="de-DE" sz="1600" b="0" dirty="0"/>
              <a:t>Bei Dienstbeschädigung oder Dienstunfall hat der </a:t>
            </a:r>
            <a:r>
              <a:rPr lang="de-DE" sz="1600" b="0" dirty="0" err="1"/>
              <a:t>BaL</a:t>
            </a:r>
            <a:r>
              <a:rPr lang="de-DE" sz="1600" b="0" dirty="0"/>
              <a:t> Anspruch auf ein Ruhegehalt nach </a:t>
            </a:r>
            <a:r>
              <a:rPr lang="de-DE" sz="1600" b="0" dirty="0">
                <a:hlinkClick r:id="rId5"/>
              </a:rPr>
              <a:t>§14 BeamtVG </a:t>
            </a:r>
            <a:r>
              <a:rPr lang="de-DE" sz="1600" b="0" dirty="0"/>
              <a:t>bzw. ein Unfallruhegehalt nach </a:t>
            </a:r>
            <a:r>
              <a:rPr lang="de-DE" sz="1600" b="0" dirty="0">
                <a:hlinkClick r:id="rId6"/>
              </a:rPr>
              <a:t>§36 BeamtVG </a:t>
            </a:r>
            <a:r>
              <a:rPr lang="de-DE" sz="1600" b="0" dirty="0"/>
              <a:t>oder ein erhöhtes Unfallruhegehalt nach </a:t>
            </a:r>
            <a:r>
              <a:rPr lang="de-DE" sz="1600" b="0" dirty="0">
                <a:hlinkClick r:id="rId7"/>
              </a:rPr>
              <a:t>§37 Beamt VG</a:t>
            </a:r>
            <a:r>
              <a:rPr lang="de-DE" sz="1600" b="0" dirty="0"/>
              <a:t>.</a:t>
            </a:r>
          </a:p>
          <a:p>
            <a:pPr marL="285750" indent="-285750">
              <a:buFont typeface="Arial" panose="020B0604020202020204" pitchFamily="34" charset="0"/>
              <a:buChar char="•"/>
            </a:pPr>
            <a:r>
              <a:rPr lang="de-DE" sz="1600" b="0" dirty="0"/>
              <a:t>Er kann nicht entlassen werden.</a:t>
            </a:r>
          </a:p>
          <a:p>
            <a:pPr marL="285750" indent="-285750">
              <a:buFont typeface="Arial" panose="020B0604020202020204" pitchFamily="34" charset="0"/>
              <a:buChar char="•"/>
            </a:pPr>
            <a:r>
              <a:rPr lang="de-DE" sz="1600" b="0" dirty="0"/>
              <a:t>Hat der Ruhegehaltsempfänger Anspruch auf eine gesetzliche Rente aus dem Angestelltenverhältnis, so darf er beide Renten nebeneinander beziehen, solange sie nicht 71,75% seiner ruhegehaltsfähigen Bezüge übersteigen. </a:t>
            </a:r>
          </a:p>
        </p:txBody>
      </p:sp>
      <p:graphicFrame>
        <p:nvGraphicFramePr>
          <p:cNvPr id="6" name="Tabelle 5">
            <a:extLst>
              <a:ext uri="{FF2B5EF4-FFF2-40B4-BE49-F238E27FC236}">
                <a16:creationId xmlns:a16="http://schemas.microsoft.com/office/drawing/2014/main" id="{9FA20A1F-C39A-7945-E21C-5E1CECC28154}"/>
              </a:ext>
            </a:extLst>
          </p:cNvPr>
          <p:cNvGraphicFramePr>
            <a:graphicFrameLocks noGrp="1"/>
          </p:cNvGraphicFramePr>
          <p:nvPr>
            <p:extLst>
              <p:ext uri="{D42A27DB-BD31-4B8C-83A1-F6EECF244321}">
                <p14:modId xmlns:p14="http://schemas.microsoft.com/office/powerpoint/2010/main" val="3297431525"/>
              </p:ext>
            </p:extLst>
          </p:nvPr>
        </p:nvGraphicFramePr>
        <p:xfrm>
          <a:off x="479424" y="4776681"/>
          <a:ext cx="6164658" cy="1432560"/>
        </p:xfrm>
        <a:graphic>
          <a:graphicData uri="http://schemas.openxmlformats.org/drawingml/2006/table">
            <a:tbl>
              <a:tblPr firstRow="1" bandRow="1">
                <a:tableStyleId>{073A0DAA-6AF3-43AB-8588-CEC1D06C72B9}</a:tableStyleId>
              </a:tblPr>
              <a:tblGrid>
                <a:gridCol w="3082329">
                  <a:extLst>
                    <a:ext uri="{9D8B030D-6E8A-4147-A177-3AD203B41FA5}">
                      <a16:colId xmlns:a16="http://schemas.microsoft.com/office/drawing/2014/main" val="2469774688"/>
                    </a:ext>
                  </a:extLst>
                </a:gridCol>
                <a:gridCol w="3082329">
                  <a:extLst>
                    <a:ext uri="{9D8B030D-6E8A-4147-A177-3AD203B41FA5}">
                      <a16:colId xmlns:a16="http://schemas.microsoft.com/office/drawing/2014/main" val="2904575500"/>
                    </a:ext>
                  </a:extLst>
                </a:gridCol>
              </a:tblGrid>
              <a:tr h="308755">
                <a:tc>
                  <a:txBody>
                    <a:bodyPr/>
                    <a:lstStyle/>
                    <a:p>
                      <a:endParaRPr lang="de-DE" sz="1600" dirty="0">
                        <a:latin typeface="+mn-lt"/>
                        <a:ea typeface="Yu Gothic Light" panose="020B0300000000000000" pitchFamily="34" charset="-128"/>
                      </a:endParaRPr>
                    </a:p>
                  </a:txBody>
                  <a:tcPr/>
                </a:tc>
                <a:tc>
                  <a:txBody>
                    <a:bodyPr/>
                    <a:lstStyle/>
                    <a:p>
                      <a:r>
                        <a:rPr lang="de-DE" sz="1600" dirty="0"/>
                        <a:t>Beamter auf Lebenszeit</a:t>
                      </a:r>
                      <a:endParaRPr lang="de-DE" sz="1600" dirty="0">
                        <a:latin typeface="Yu Gothic Light" panose="020B0300000000000000" pitchFamily="34" charset="-128"/>
                        <a:ea typeface="Yu Gothic Light" panose="020B0300000000000000" pitchFamily="34" charset="-128"/>
                      </a:endParaRPr>
                    </a:p>
                  </a:txBody>
                  <a:tcPr/>
                </a:tc>
                <a:extLst>
                  <a:ext uri="{0D108BD9-81ED-4DB2-BD59-A6C34878D82A}">
                    <a16:rowId xmlns:a16="http://schemas.microsoft.com/office/drawing/2014/main" val="1756962065"/>
                  </a:ext>
                </a:extLst>
              </a:tr>
              <a:tr h="173103">
                <a:tc>
                  <a:txBody>
                    <a:bodyPr/>
                    <a:lstStyle/>
                    <a:p>
                      <a:r>
                        <a:rPr lang="de-DE" sz="1800" dirty="0">
                          <a:latin typeface="+mn-lt"/>
                        </a:rPr>
                        <a:t>Krankheit oder Freiz</a:t>
                      </a:r>
                      <a:r>
                        <a:rPr lang="de-DE" sz="1800" dirty="0">
                          <a:solidFill>
                            <a:schemeClr val="tx1"/>
                          </a:solidFill>
                          <a:latin typeface="+mn-lt"/>
                        </a:rPr>
                        <a:t>eitunfa</a:t>
                      </a:r>
                      <a:r>
                        <a:rPr lang="de-DE" sz="1800" dirty="0">
                          <a:latin typeface="+mn-lt"/>
                        </a:rPr>
                        <a:t>ll</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200" b="1" dirty="0">
                          <a:solidFill>
                            <a:schemeClr val="tx1"/>
                          </a:solidFill>
                          <a:sym typeface="Wingdings 2"/>
                        </a:rPr>
                        <a:t>Zwischen 35%-71,75%</a:t>
                      </a:r>
                      <a:endParaRPr lang="de-DE" sz="1200" b="1" dirty="0">
                        <a:solidFill>
                          <a:schemeClr val="tx1"/>
                        </a:solidFill>
                        <a:latin typeface="Yu Gothic Light" panose="020B0300000000000000" pitchFamily="34" charset="-128"/>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087185194"/>
                  </a:ext>
                </a:extLst>
              </a:tr>
              <a:tr h="329902">
                <a:tc>
                  <a:txBody>
                    <a:bodyPr/>
                    <a:lstStyle/>
                    <a:p>
                      <a:r>
                        <a:rPr lang="de-DE" sz="1800" dirty="0">
                          <a:latin typeface="+mn-lt"/>
                        </a:rPr>
                        <a:t>Dienstbeschädigung</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200" b="1" dirty="0">
                          <a:solidFill>
                            <a:schemeClr val="tx1"/>
                          </a:solidFill>
                          <a:sym typeface="Wingdings 2"/>
                        </a:rPr>
                        <a:t>Zwischen 35%-71,75%</a:t>
                      </a:r>
                      <a:endParaRPr lang="de-DE" sz="1200" b="1" dirty="0">
                        <a:solidFill>
                          <a:schemeClr val="tx1"/>
                        </a:solidFill>
                        <a:latin typeface="Yu Gothic Light" panose="020B0300000000000000" pitchFamily="34" charset="-128"/>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426048446"/>
                  </a:ext>
                </a:extLst>
              </a:tr>
              <a:tr h="329902">
                <a:tc>
                  <a:txBody>
                    <a:bodyPr/>
                    <a:lstStyle/>
                    <a:p>
                      <a:r>
                        <a:rPr lang="de-DE" sz="1800" dirty="0">
                          <a:latin typeface="+mn-lt"/>
                        </a:rPr>
                        <a:t>Dienstunfall</a:t>
                      </a:r>
                      <a:endParaRPr lang="de-DE" sz="1800" dirty="0">
                        <a:latin typeface="+mn-lt"/>
                        <a:ea typeface="Yu Gothic Light" panose="020B0300000000000000" pitchFamily="34" charset="-128"/>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200" b="1" dirty="0">
                          <a:solidFill>
                            <a:schemeClr val="tx1"/>
                          </a:solidFill>
                          <a:sym typeface="Wingdings 2"/>
                        </a:rPr>
                        <a:t>Zwischen 66,7%-75%</a:t>
                      </a:r>
                      <a:endParaRPr lang="de-DE" sz="1200" b="1" dirty="0">
                        <a:solidFill>
                          <a:schemeClr val="tx1"/>
                        </a:solidFill>
                        <a:latin typeface="Yu Gothic Light" panose="020B0300000000000000" pitchFamily="34" charset="-128"/>
                        <a:ea typeface="Yu Gothic Light" panose="020B0300000000000000" pitchFamily="34" charset="-128"/>
                        <a:cs typeface="Arial" panose="020B0604020202020204" pitchFamily="34" charset="0"/>
                      </a:endParaRPr>
                    </a:p>
                  </a:txBody>
                  <a:tcPr anchor="ctr"/>
                </a:tc>
                <a:extLst>
                  <a:ext uri="{0D108BD9-81ED-4DB2-BD59-A6C34878D82A}">
                    <a16:rowId xmlns:a16="http://schemas.microsoft.com/office/drawing/2014/main" val="3512589135"/>
                  </a:ext>
                </a:extLst>
              </a:tr>
            </a:tbl>
          </a:graphicData>
        </a:graphic>
      </p:graphicFrame>
    </p:spTree>
    <p:extLst>
      <p:ext uri="{BB962C8B-B14F-4D97-AF65-F5344CB8AC3E}">
        <p14:creationId xmlns:p14="http://schemas.microsoft.com/office/powerpoint/2010/main" val="2685633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Und wie hoch sind die Ansprüche?</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7" name="Bildplatzhalter 6" descr="Ein Bild, das Person, Menschliches Gesicht, Kleidung, Lächeln enthält.&#10;&#10;Automatisch generierte Beschreibung">
            <a:extLst>
              <a:ext uri="{FF2B5EF4-FFF2-40B4-BE49-F238E27FC236}">
                <a16:creationId xmlns:a16="http://schemas.microsoft.com/office/drawing/2014/main" id="{F8850E47-54E2-C622-7540-2F4586D63EBD}"/>
              </a:ext>
            </a:extLst>
          </p:cNvPr>
          <p:cNvPicPr>
            <a:picLocks noGrp="1" noChangeAspect="1"/>
          </p:cNvPicPr>
          <p:nvPr>
            <p:ph type="pic" sz="quarter" idx="14"/>
          </p:nvPr>
        </p:nvPicPr>
        <p:blipFill>
          <a:blip r:embed="rId2"/>
          <a:srcRect t="9099" b="9099"/>
          <a:stretch>
            <a:fillRect/>
          </a:stretch>
        </p:blipFill>
        <p:spPr>
          <a:xfrm>
            <a:off x="200439" y="211703"/>
            <a:ext cx="11791121" cy="6434593"/>
          </a:xfrm>
        </p:spPr>
      </p:pic>
    </p:spTree>
    <p:extLst>
      <p:ext uri="{BB962C8B-B14F-4D97-AF65-F5344CB8AC3E}">
        <p14:creationId xmlns:p14="http://schemas.microsoft.com/office/powerpoint/2010/main" val="4270938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Berechnung des Ruhegehalts wegen Dienstunfähigk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hoch ist das Ruhegehalt?</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682440"/>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sym typeface="Wingdings" panose="05000000000000000000" pitchFamily="2" charset="2"/>
              </a:rPr>
              <a:t>Die Formel an sich ist sehr einfach. Es gibt deutlich weniger Faktoren als bei der Deutschen Rentenversicherung. Allerdings regelt die Einzelheiten bei Landesbeamten das Land. </a:t>
            </a:r>
          </a:p>
          <a:p>
            <a:endParaRPr lang="de-DE" sz="1600" b="0" dirty="0">
              <a:sym typeface="Wingdings" panose="05000000000000000000" pitchFamily="2" charset="2"/>
            </a:endParaRPr>
          </a:p>
          <a:p>
            <a:pPr marL="285750" indent="-285750">
              <a:buFont typeface="Arial" panose="020B0604020202020204" pitchFamily="34" charset="0"/>
              <a:buChar char="•"/>
            </a:pPr>
            <a:endParaRPr lang="de-DE" sz="1600" b="0" dirty="0">
              <a:sym typeface="Wingdings" panose="05000000000000000000" pitchFamily="2" charset="2"/>
            </a:endParaRPr>
          </a:p>
          <a:p>
            <a:endParaRPr lang="de-DE" sz="800" b="0" dirty="0"/>
          </a:p>
          <a:p>
            <a:endParaRPr lang="de-DE" sz="1600" b="0" dirty="0"/>
          </a:p>
          <a:p>
            <a:endParaRPr lang="de-DE" sz="1600" b="0" dirty="0"/>
          </a:p>
        </p:txBody>
      </p:sp>
      <p:grpSp>
        <p:nvGrpSpPr>
          <p:cNvPr id="4" name="Gruppieren 3">
            <a:extLst>
              <a:ext uri="{FF2B5EF4-FFF2-40B4-BE49-F238E27FC236}">
                <a16:creationId xmlns:a16="http://schemas.microsoft.com/office/drawing/2014/main" id="{AD22A122-1CC9-BA04-8735-FCCA753A819D}"/>
              </a:ext>
            </a:extLst>
          </p:cNvPr>
          <p:cNvGrpSpPr/>
          <p:nvPr/>
        </p:nvGrpSpPr>
        <p:grpSpPr>
          <a:xfrm>
            <a:off x="479425" y="2665240"/>
            <a:ext cx="1733466" cy="1733466"/>
            <a:chOff x="1307" y="1581538"/>
            <a:chExt cx="1733466" cy="1733466"/>
          </a:xfrm>
          <a:solidFill>
            <a:schemeClr val="accent2"/>
          </a:solidFill>
        </p:grpSpPr>
        <p:sp>
          <p:nvSpPr>
            <p:cNvPr id="6" name="Ellipse 5">
              <a:extLst>
                <a:ext uri="{FF2B5EF4-FFF2-40B4-BE49-F238E27FC236}">
                  <a16:creationId xmlns:a16="http://schemas.microsoft.com/office/drawing/2014/main" id="{0E9F6F68-623E-6D47-4A8C-1CBDBD785731}"/>
                </a:ext>
              </a:extLst>
            </p:cNvPr>
            <p:cNvSpPr/>
            <p:nvPr/>
          </p:nvSpPr>
          <p:spPr>
            <a:xfrm>
              <a:off x="1307" y="1581538"/>
              <a:ext cx="1733466" cy="1733466"/>
            </a:xfrm>
            <a:prstGeom prst="ellipse">
              <a:avLst/>
            </a:prstGeom>
            <a:grpFill/>
            <a:ln>
              <a:solidFill>
                <a:srgbClr val="0088AE"/>
              </a:solidFill>
            </a:ln>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7" name="Ellipse 4">
              <a:extLst>
                <a:ext uri="{FF2B5EF4-FFF2-40B4-BE49-F238E27FC236}">
                  <a16:creationId xmlns:a16="http://schemas.microsoft.com/office/drawing/2014/main" id="{F7D1ADD3-A42B-8C41-BAA4-2983EC103342}"/>
                </a:ext>
              </a:extLst>
            </p:cNvPr>
            <p:cNvSpPr txBox="1"/>
            <p:nvPr/>
          </p:nvSpPr>
          <p:spPr>
            <a:xfrm>
              <a:off x="274040" y="1854271"/>
              <a:ext cx="1188000" cy="1188000"/>
            </a:xfrm>
            <a:prstGeom prst="rect">
              <a:avLst/>
            </a:prstGeom>
            <a:grpFill/>
            <a:ln>
              <a:solidFill>
                <a:srgbClr val="0088AE"/>
              </a:solidFill>
            </a:ln>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200" b="1" dirty="0">
                  <a:ea typeface="Yu Gothic Light" panose="020B0300000000000000" pitchFamily="34" charset="-128"/>
                  <a:cs typeface="Arial" panose="020B0604020202020204" pitchFamily="34" charset="0"/>
                </a:rPr>
                <a:t>Ruhegehaltfähige Dienstbezüge</a:t>
              </a:r>
            </a:p>
          </p:txBody>
        </p:sp>
      </p:grpSp>
      <p:grpSp>
        <p:nvGrpSpPr>
          <p:cNvPr id="8" name="Gruppieren 7">
            <a:extLst>
              <a:ext uri="{FF2B5EF4-FFF2-40B4-BE49-F238E27FC236}">
                <a16:creationId xmlns:a16="http://schemas.microsoft.com/office/drawing/2014/main" id="{71C03332-A1B2-CE52-228F-8AC9E3E95E74}"/>
              </a:ext>
            </a:extLst>
          </p:cNvPr>
          <p:cNvGrpSpPr/>
          <p:nvPr/>
        </p:nvGrpSpPr>
        <p:grpSpPr>
          <a:xfrm>
            <a:off x="3499816" y="2665240"/>
            <a:ext cx="1733466" cy="1733466"/>
            <a:chOff x="3021698" y="1581538"/>
            <a:chExt cx="1733466" cy="1733466"/>
          </a:xfrm>
          <a:solidFill>
            <a:schemeClr val="accent2"/>
          </a:solidFill>
        </p:grpSpPr>
        <p:sp>
          <p:nvSpPr>
            <p:cNvPr id="9" name="Ellipse 8">
              <a:extLst>
                <a:ext uri="{FF2B5EF4-FFF2-40B4-BE49-F238E27FC236}">
                  <a16:creationId xmlns:a16="http://schemas.microsoft.com/office/drawing/2014/main" id="{01DF30CF-A6F1-2FD3-A185-2A454FBD822D}"/>
                </a:ext>
              </a:extLst>
            </p:cNvPr>
            <p:cNvSpPr/>
            <p:nvPr/>
          </p:nvSpPr>
          <p:spPr>
            <a:xfrm>
              <a:off x="3021698" y="1581538"/>
              <a:ext cx="1733466" cy="1733466"/>
            </a:xfrm>
            <a:prstGeom prst="ellipse">
              <a:avLst/>
            </a:prstGeom>
            <a:grpFill/>
            <a:ln>
              <a:solidFill>
                <a:srgbClr val="0088AE"/>
              </a:solidFill>
            </a:ln>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11" name="Ellipse 8">
              <a:extLst>
                <a:ext uri="{FF2B5EF4-FFF2-40B4-BE49-F238E27FC236}">
                  <a16:creationId xmlns:a16="http://schemas.microsoft.com/office/drawing/2014/main" id="{3E6649DF-6509-A53E-6CF4-3BF537B08075}"/>
                </a:ext>
              </a:extLst>
            </p:cNvPr>
            <p:cNvSpPr txBox="1"/>
            <p:nvPr/>
          </p:nvSpPr>
          <p:spPr>
            <a:xfrm>
              <a:off x="3294431" y="1848373"/>
              <a:ext cx="1188000" cy="1188000"/>
            </a:xfrm>
            <a:prstGeom prst="rect">
              <a:avLst/>
            </a:prstGeom>
            <a:grpFill/>
            <a:ln>
              <a:solidFill>
                <a:srgbClr val="0088AE"/>
              </a:solidFill>
            </a:ln>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200" b="1" dirty="0">
                  <a:ea typeface="Yu Gothic Light" panose="020B0300000000000000" pitchFamily="34" charset="-128"/>
                  <a:cs typeface="Arial" panose="020B0604020202020204" pitchFamily="34" charset="0"/>
                </a:rPr>
                <a:t>Ruhegehaltfähige Dienstzeiten bzw. Berechnungs-prozentsatz</a:t>
              </a:r>
            </a:p>
          </p:txBody>
        </p:sp>
      </p:grpSp>
      <p:grpSp>
        <p:nvGrpSpPr>
          <p:cNvPr id="12" name="Gruppieren 11">
            <a:extLst>
              <a:ext uri="{FF2B5EF4-FFF2-40B4-BE49-F238E27FC236}">
                <a16:creationId xmlns:a16="http://schemas.microsoft.com/office/drawing/2014/main" id="{AD8C7114-4EAF-5D6D-162E-1F24C794FC68}"/>
              </a:ext>
            </a:extLst>
          </p:cNvPr>
          <p:cNvGrpSpPr/>
          <p:nvPr/>
        </p:nvGrpSpPr>
        <p:grpSpPr>
          <a:xfrm>
            <a:off x="6520208" y="2665240"/>
            <a:ext cx="1733466" cy="1733466"/>
            <a:chOff x="6042090" y="1581538"/>
            <a:chExt cx="1733466" cy="1733466"/>
          </a:xfrm>
          <a:solidFill>
            <a:schemeClr val="accent2"/>
          </a:solidFill>
        </p:grpSpPr>
        <p:sp>
          <p:nvSpPr>
            <p:cNvPr id="13" name="Ellipse 12">
              <a:extLst>
                <a:ext uri="{FF2B5EF4-FFF2-40B4-BE49-F238E27FC236}">
                  <a16:creationId xmlns:a16="http://schemas.microsoft.com/office/drawing/2014/main" id="{613F50E7-5271-32B2-D40F-AE13F57CF1F7}"/>
                </a:ext>
              </a:extLst>
            </p:cNvPr>
            <p:cNvSpPr/>
            <p:nvPr/>
          </p:nvSpPr>
          <p:spPr>
            <a:xfrm>
              <a:off x="6042090" y="1581538"/>
              <a:ext cx="1733466" cy="1733466"/>
            </a:xfrm>
            <a:prstGeom prst="ellipse">
              <a:avLst/>
            </a:prstGeom>
            <a:grpFill/>
            <a:ln>
              <a:solidFill>
                <a:srgbClr val="0088AE"/>
              </a:solidFill>
            </a:ln>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14" name="Ellipse 12">
              <a:extLst>
                <a:ext uri="{FF2B5EF4-FFF2-40B4-BE49-F238E27FC236}">
                  <a16:creationId xmlns:a16="http://schemas.microsoft.com/office/drawing/2014/main" id="{B40FCF12-E3E6-FDE1-E2EF-A2CB4D8DA2AF}"/>
                </a:ext>
              </a:extLst>
            </p:cNvPr>
            <p:cNvSpPr txBox="1"/>
            <p:nvPr/>
          </p:nvSpPr>
          <p:spPr>
            <a:xfrm>
              <a:off x="6314823" y="1848373"/>
              <a:ext cx="1188000" cy="1188000"/>
            </a:xfrm>
            <a:prstGeom prst="rect">
              <a:avLst/>
            </a:prstGeom>
            <a:grpFill/>
            <a:ln>
              <a:solidFill>
                <a:srgbClr val="0088AE"/>
              </a:solidFill>
            </a:ln>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200" b="1" dirty="0">
                  <a:ea typeface="Yu Gothic Light" panose="020B0300000000000000" pitchFamily="34" charset="-128"/>
                  <a:cs typeface="Arial" panose="020B0604020202020204" pitchFamily="34" charset="0"/>
                </a:rPr>
                <a:t>Versorgung des Beamten, abzgl. Versorgungs-abschlag</a:t>
              </a:r>
            </a:p>
          </p:txBody>
        </p:sp>
      </p:grpSp>
      <p:grpSp>
        <p:nvGrpSpPr>
          <p:cNvPr id="15" name="Gruppieren 14">
            <a:extLst>
              <a:ext uri="{FF2B5EF4-FFF2-40B4-BE49-F238E27FC236}">
                <a16:creationId xmlns:a16="http://schemas.microsoft.com/office/drawing/2014/main" id="{68E2557B-F172-6BAF-E92C-7C2E2970B69F}"/>
              </a:ext>
            </a:extLst>
          </p:cNvPr>
          <p:cNvGrpSpPr/>
          <p:nvPr/>
        </p:nvGrpSpPr>
        <p:grpSpPr>
          <a:xfrm>
            <a:off x="2374567" y="3029268"/>
            <a:ext cx="1005410" cy="1044000"/>
            <a:chOff x="1887159" y="1945566"/>
            <a:chExt cx="1005410" cy="1005410"/>
          </a:xfrm>
          <a:solidFill>
            <a:schemeClr val="accent2"/>
          </a:solidFill>
        </p:grpSpPr>
        <p:sp>
          <p:nvSpPr>
            <p:cNvPr id="16" name="Additionszeichen 15">
              <a:extLst>
                <a:ext uri="{FF2B5EF4-FFF2-40B4-BE49-F238E27FC236}">
                  <a16:creationId xmlns:a16="http://schemas.microsoft.com/office/drawing/2014/main" id="{1569540D-68EF-7A85-6B93-6989775F71D5}"/>
                </a:ext>
              </a:extLst>
            </p:cNvPr>
            <p:cNvSpPr/>
            <p:nvPr/>
          </p:nvSpPr>
          <p:spPr>
            <a:xfrm rot="2700000">
              <a:off x="1887159" y="1945566"/>
              <a:ext cx="1005410" cy="1005410"/>
            </a:xfrm>
            <a:prstGeom prst="mathPlus">
              <a:avLst/>
            </a:prstGeom>
            <a:grpFill/>
            <a:ln>
              <a:solidFill>
                <a:srgbClr val="0088AE"/>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1">
              <a:schemeClr val="accent1">
                <a:tint val="60000"/>
                <a:hueOff val="0"/>
                <a:satOff val="0"/>
                <a:lumOff val="0"/>
                <a:alphaOff val="0"/>
              </a:schemeClr>
            </a:effectRef>
            <a:fontRef idx="minor">
              <a:schemeClr val="lt1"/>
            </a:fontRef>
          </p:style>
          <p:txBody>
            <a:bodyPr/>
            <a:lstStyle/>
            <a:p>
              <a:endParaRPr lang="de-DE"/>
            </a:p>
          </p:txBody>
        </p:sp>
        <p:sp>
          <p:nvSpPr>
            <p:cNvPr id="17" name="Additionszeichen 4">
              <a:extLst>
                <a:ext uri="{FF2B5EF4-FFF2-40B4-BE49-F238E27FC236}">
                  <a16:creationId xmlns:a16="http://schemas.microsoft.com/office/drawing/2014/main" id="{C55EE181-3931-1892-088B-7F325FCA3C72}"/>
                </a:ext>
              </a:extLst>
            </p:cNvPr>
            <p:cNvSpPr txBox="1"/>
            <p:nvPr/>
          </p:nvSpPr>
          <p:spPr>
            <a:xfrm rot="2700000">
              <a:off x="2020426" y="2330035"/>
              <a:ext cx="738876" cy="236472"/>
            </a:xfrm>
            <a:prstGeom prst="rect">
              <a:avLst/>
            </a:prstGeom>
            <a:grpFill/>
            <a:ln>
              <a:solidFill>
                <a:srgbClr val="0088AE"/>
              </a:solidFill>
            </a:ln>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endParaRPr lang="de-DE" sz="1600"/>
            </a:p>
          </p:txBody>
        </p:sp>
      </p:grpSp>
      <p:sp>
        <p:nvSpPr>
          <p:cNvPr id="18" name="Gleich 17">
            <a:extLst>
              <a:ext uri="{FF2B5EF4-FFF2-40B4-BE49-F238E27FC236}">
                <a16:creationId xmlns:a16="http://schemas.microsoft.com/office/drawing/2014/main" id="{03D040DC-5284-61BC-2084-1A6A8A7C8CA4}"/>
              </a:ext>
            </a:extLst>
          </p:cNvPr>
          <p:cNvSpPr/>
          <p:nvPr/>
        </p:nvSpPr>
        <p:spPr bwMode="auto">
          <a:xfrm>
            <a:off x="5355245" y="3017623"/>
            <a:ext cx="1044000" cy="1044000"/>
          </a:xfrm>
          <a:prstGeom prst="mathEqual">
            <a:avLst/>
          </a:prstGeom>
          <a:solidFill>
            <a:schemeClr val="accent2"/>
          </a:solidFill>
          <a:ln w="12700" algn="ctr">
            <a:solidFill>
              <a:srgbClr val="0088AE"/>
            </a:solid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spTree>
    <p:extLst>
      <p:ext uri="{BB962C8B-B14F-4D97-AF65-F5344CB8AC3E}">
        <p14:creationId xmlns:p14="http://schemas.microsoft.com/office/powerpoint/2010/main" val="427736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Berechnung des Ruhegehalts wegen Dienstunfähigkei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hoch ist das Ruhegehalt?</a:t>
            </a:r>
          </a:p>
        </p:txBody>
      </p:sp>
      <p:grpSp>
        <p:nvGrpSpPr>
          <p:cNvPr id="19" name="Gruppieren 18">
            <a:extLst>
              <a:ext uri="{FF2B5EF4-FFF2-40B4-BE49-F238E27FC236}">
                <a16:creationId xmlns:a16="http://schemas.microsoft.com/office/drawing/2014/main" id="{6A33C932-4850-41D9-C83D-8165EB682839}"/>
              </a:ext>
            </a:extLst>
          </p:cNvPr>
          <p:cNvGrpSpPr/>
          <p:nvPr/>
        </p:nvGrpSpPr>
        <p:grpSpPr>
          <a:xfrm>
            <a:off x="479425" y="2068723"/>
            <a:ext cx="2592303" cy="2720554"/>
            <a:chOff x="141417" y="1111648"/>
            <a:chExt cx="2592303" cy="2720554"/>
          </a:xfrm>
          <a:solidFill>
            <a:schemeClr val="accent2"/>
          </a:solidFill>
        </p:grpSpPr>
        <p:sp>
          <p:nvSpPr>
            <p:cNvPr id="20" name="Ellipse 19">
              <a:extLst>
                <a:ext uri="{FF2B5EF4-FFF2-40B4-BE49-F238E27FC236}">
                  <a16:creationId xmlns:a16="http://schemas.microsoft.com/office/drawing/2014/main" id="{E5945FBA-CE7A-F54C-1D82-5C9197EB00C9}"/>
                </a:ext>
              </a:extLst>
            </p:cNvPr>
            <p:cNvSpPr/>
            <p:nvPr/>
          </p:nvSpPr>
          <p:spPr>
            <a:xfrm>
              <a:off x="141417" y="1111648"/>
              <a:ext cx="2592303" cy="2720554"/>
            </a:xfrm>
            <a:prstGeom prst="ellipse">
              <a:avLst/>
            </a:prstGeom>
            <a:grp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a:lstStyle/>
            <a:p>
              <a:endParaRPr lang="de-DE"/>
            </a:p>
          </p:txBody>
        </p:sp>
        <p:sp>
          <p:nvSpPr>
            <p:cNvPr id="21" name="Ellipse 4">
              <a:extLst>
                <a:ext uri="{FF2B5EF4-FFF2-40B4-BE49-F238E27FC236}">
                  <a16:creationId xmlns:a16="http://schemas.microsoft.com/office/drawing/2014/main" id="{CEA8D650-7578-ABA5-181D-5B137113266B}"/>
                </a:ext>
              </a:extLst>
            </p:cNvPr>
            <p:cNvSpPr txBox="1"/>
            <p:nvPr/>
          </p:nvSpPr>
          <p:spPr>
            <a:xfrm>
              <a:off x="573568" y="1607925"/>
              <a:ext cx="1728000" cy="17280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de-DE" sz="1600" b="1" dirty="0">
                  <a:ea typeface="Yu Gothic Light" panose="020B0300000000000000" pitchFamily="34" charset="-128"/>
                  <a:cs typeface="Arial" panose="020B0604020202020204" pitchFamily="34" charset="0"/>
                </a:rPr>
                <a:t>Ruhegehaltfähige Dienstbezüge bei Dienstunfähigkeit</a:t>
              </a:r>
            </a:p>
          </p:txBody>
        </p:sp>
      </p:grpSp>
      <p:sp>
        <p:nvSpPr>
          <p:cNvPr id="23" name="Textfeld 22">
            <a:extLst>
              <a:ext uri="{FF2B5EF4-FFF2-40B4-BE49-F238E27FC236}">
                <a16:creationId xmlns:a16="http://schemas.microsoft.com/office/drawing/2014/main" id="{A00E52E5-CE73-C7BC-7D93-B6256551D666}"/>
              </a:ext>
            </a:extLst>
          </p:cNvPr>
          <p:cNvSpPr txBox="1"/>
          <p:nvPr/>
        </p:nvSpPr>
        <p:spPr>
          <a:xfrm>
            <a:off x="3503879" y="2967335"/>
            <a:ext cx="6098720" cy="923330"/>
          </a:xfrm>
          <a:prstGeom prst="rect">
            <a:avLst/>
          </a:prstGeom>
          <a:noFill/>
        </p:spPr>
        <p:txBody>
          <a:bodyPr wrap="square">
            <a:spAutoFit/>
          </a:bodyPr>
          <a:lstStyle/>
          <a:p>
            <a:r>
              <a:rPr lang="de-DE" dirty="0"/>
              <a:t>Grundgehalt + (FZ1 +) Amtszulage/Strukturzulage) der letzten 2 Jahre : 2 (der Anspruch muss 2 Jahre bestanden haben)  = Ruhegehaltfähige Dienstbezüge</a:t>
            </a:r>
          </a:p>
        </p:txBody>
      </p:sp>
    </p:spTree>
    <p:extLst>
      <p:ext uri="{BB962C8B-B14F-4D97-AF65-F5344CB8AC3E}">
        <p14:creationId xmlns:p14="http://schemas.microsoft.com/office/powerpoint/2010/main" val="2925143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Fonds Finanz">
  <a:themeElements>
    <a:clrScheme name="Fonds_Finanz_Colors">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Fond_Finanz_Colors">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lIns="108000" tIns="72000" rIns="108000" bIns="72000" rtlCol="0" anchor="t"/>
      <a:lstStyle>
        <a:defPPr algn="l">
          <a:defRPr sz="16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6350" cap="flat">
          <a:solidFill>
            <a:srgbClr val="2F4D72"/>
          </a:solidFill>
          <a:prstDash val="solid"/>
          <a:miter/>
        </a:ln>
      </a:spPr>
      <a:bodyPr/>
      <a:lstStyle/>
    </a:lnDef>
    <a:txDef>
      <a:spPr>
        <a:noFill/>
      </a:spPr>
      <a:bodyPr wrap="none" lIns="0" tIns="0" rIns="0" bIns="0" rtlCol="0">
        <a:spAutoFit/>
      </a:bodyPr>
      <a:lstStyle>
        <a:defPPr marL="180000" indent="-180000" algn="l">
          <a:spcAft>
            <a:spcPts val="600"/>
          </a:spcAft>
          <a:buClr>
            <a:schemeClr val="tx1"/>
          </a:buClr>
          <a:buFont typeface="Wingdings" panose="05000000000000000000" pitchFamily="2" charset="2"/>
          <a:buChar char="§"/>
          <a:defRPr sz="1600" dirty="0" err="1" smtClean="0">
            <a:solidFill>
              <a:schemeClr val="tx2"/>
            </a:solidFill>
          </a:defRPr>
        </a:defPPr>
      </a:lstStyle>
    </a:txDef>
  </a:objectDefaults>
  <a:extraClrSchemeLst/>
  <a:custClrLst>
    <a:custClr name="Nachhaltigkeit Hellgrün">
      <a:srgbClr val="87B24C"/>
    </a:custClr>
    <a:custClr name="Nachhaltigkeit Dunkelgrün">
      <a:srgbClr val="59774D"/>
    </a:custClr>
    <a:custClr name="Warnsignal">
      <a:srgbClr val="CE2828"/>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FF_PPT-Vorlagen_Jun02.pptx  -  Schreibgeschützt" id="{7C14F8C8-09AF-4700-A434-D8D6B2D5A298}" vid="{DFA0DBF9-92F9-4C01-BCA6-E306B7085992}"/>
    </a:ext>
  </a:extLst>
</a:theme>
</file>

<file path=ppt/theme/theme2.xml><?xml version="1.0" encoding="utf-8"?>
<a:theme xmlns:a="http://schemas.openxmlformats.org/drawingml/2006/main" name="Office">
  <a:themeElements>
    <a:clrScheme name="Farben fondsfinanz">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Schriften fondsfinanz">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arben fondsfinanz">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Schriften fondsfinanz">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F_PPT-Vorlagen_Jun02</Template>
  <TotalTime>0</TotalTime>
  <Words>1290</Words>
  <Application>Microsoft Office PowerPoint</Application>
  <PresentationFormat>Breitbild</PresentationFormat>
  <Paragraphs>121</Paragraphs>
  <Slides>2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27" baseType="lpstr">
      <vt:lpstr>Yu Gothic Light</vt:lpstr>
      <vt:lpstr>Wingdings 2</vt:lpstr>
      <vt:lpstr>Arial</vt:lpstr>
      <vt:lpstr>PT Sans</vt:lpstr>
      <vt:lpstr>Wingdings</vt:lpstr>
      <vt:lpstr>Master Fonds Finanz</vt:lpstr>
      <vt:lpstr>think-cell Folie</vt:lpstr>
      <vt:lpstr>Der Bedarf von Beamten</vt:lpstr>
      <vt:lpstr>  </vt:lpstr>
      <vt:lpstr>LÖSCH HIER DIE SEITEN, DIE DU NICHT BRAUCHST! WENN DER BEAMTE SCHON AUF LEBENSZEIT VERBEAMTET IST, LANGWEILE IHR NICHT MIT DEN ANSPRÜCHEN DER BAW UND BAP…</vt:lpstr>
      <vt:lpstr>Der Beamte auf Widerruf</vt:lpstr>
      <vt:lpstr>Der Beamte auf Probe</vt:lpstr>
      <vt:lpstr>Der Beamte auf Lebenszeit</vt:lpstr>
      <vt:lpstr>  </vt:lpstr>
      <vt:lpstr>Berechnung des Ruhegehalts wegen Dienstunfähigkeit</vt:lpstr>
      <vt:lpstr>Berechnung des Ruhegehalts wegen Dienstunfähigkeit</vt:lpstr>
      <vt:lpstr>Berechnung des Ruhegehalts wegen Dienstunfähigkeit</vt:lpstr>
      <vt:lpstr>Was gehört zur Wartezeit?</vt:lpstr>
      <vt:lpstr>Das Mindestruhegehalt gibt es auch in Teilzeit in voller Höhe</vt:lpstr>
      <vt:lpstr>Berechnung des Ruhegehalts wegen Dienstunfähigkeit</vt:lpstr>
      <vt:lpstr>Berechnung des Unfallruhegehalts</vt:lpstr>
      <vt:lpstr>Berechnung des erhöhten Unfallruhegehalts</vt:lpstr>
      <vt:lpstr>  </vt:lpstr>
      <vt:lpstr>Der Experte nennt es „begrenzte Dienstfähigkeit“</vt:lpstr>
      <vt:lpstr>So sind die Ansprüche bei „begrenzter Dienstfähigkeit“</vt:lpstr>
      <vt:lpstr>So sind die Ansprüche bei „begrenzter Dienstfähigkeit“</vt:lpstr>
      <vt:lpstr>Herzlichen D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rauf musst du bei BU-Bedingungen achten!</dc:title>
  <dc:creator>Philip Wenzel</dc:creator>
  <cp:lastModifiedBy>Philip Wenzel</cp:lastModifiedBy>
  <cp:revision>15</cp:revision>
  <dcterms:created xsi:type="dcterms:W3CDTF">2024-01-16T07:21:00Z</dcterms:created>
  <dcterms:modified xsi:type="dcterms:W3CDTF">2024-08-13T15:27:31Z</dcterms:modified>
</cp:coreProperties>
</file>